
<file path=[Content_Types].xml><?xml version="1.0" encoding="utf-8"?>
<Types xmlns="http://schemas.openxmlformats.org/package/2006/content-types"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5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12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648" r:id="rId1"/>
  </p:sldMasterIdLst>
  <p:notesMasterIdLst>
    <p:notesMasterId r:id="rId20"/>
  </p:notesMasterIdLst>
  <p:sldIdLst>
    <p:sldId id="1722" r:id="rId2"/>
    <p:sldId id="1731" r:id="rId3"/>
    <p:sldId id="1635" r:id="rId4"/>
    <p:sldId id="2260" r:id="rId5"/>
    <p:sldId id="2266" r:id="rId6"/>
    <p:sldId id="2267" r:id="rId7"/>
    <p:sldId id="2268" r:id="rId8"/>
    <p:sldId id="2269" r:id="rId9"/>
    <p:sldId id="1726" r:id="rId10"/>
    <p:sldId id="1593" r:id="rId11"/>
    <p:sldId id="1728" r:id="rId12"/>
    <p:sldId id="2262" r:id="rId13"/>
    <p:sldId id="2270" r:id="rId14"/>
    <p:sldId id="2263" r:id="rId15"/>
    <p:sldId id="2264" r:id="rId16"/>
    <p:sldId id="2272" r:id="rId17"/>
    <p:sldId id="2274" r:id="rId18"/>
    <p:sldId id="2276" r:id="rId19"/>
  </p:sldIdLst>
  <p:sldSz cx="12192000" cy="6858000"/>
  <p:notesSz cx="6858000" cy="9144000"/>
  <p:embeddedFontLst>
    <p:embeddedFont>
      <p:font typeface="Calibri" panose="020F0502020204030204" pitchFamily="34" charset="0"/>
      <p:regular r:id="rId21"/>
      <p:bold r:id="rId22"/>
      <p:italic r:id="rId23"/>
      <p:boldItalic r:id="rId24"/>
    </p:embeddedFont>
  </p:embeddedFontLst>
  <p:custDataLst>
    <p:tags r:id="rId25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67" userDrawn="1">
          <p15:clr>
            <a:srgbClr val="A4A3A4"/>
          </p15:clr>
        </p15:guide>
        <p15:guide id="2" pos="43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FF00"/>
    <a:srgbClr val="FF00FF"/>
    <a:srgbClr val="0000FF"/>
    <a:srgbClr val="000000"/>
    <a:srgbClr val="F3D9DC"/>
    <a:srgbClr val="EFCCCF"/>
    <a:srgbClr val="FFFFFF"/>
    <a:srgbClr val="F7E7E9"/>
    <a:srgbClr val="B0C2E5"/>
    <a:srgbClr val="7191D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173" autoAdjust="0"/>
    <p:restoredTop sz="96327" autoAdjust="0"/>
  </p:normalViewPr>
  <p:slideViewPr>
    <p:cSldViewPr snapToGrid="0">
      <p:cViewPr varScale="1">
        <p:scale>
          <a:sx n="106" d="100"/>
          <a:sy n="106" d="100"/>
        </p:scale>
        <p:origin x="240" y="108"/>
      </p:cViewPr>
      <p:guideLst>
        <p:guide orient="horz" pos="867"/>
        <p:guide pos="438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50" d="100"/>
        <a:sy n="150" d="100"/>
      </p:scale>
      <p:origin x="0" y="-775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font" Target="fonts/font1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4.fntdata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3.fntdata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2.fntdata"/><Relationship Id="rId27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1338613455438066E-2"/>
          <c:y val="2.9263177408738655E-2"/>
          <c:w val="0.66820456364392533"/>
          <c:h val="0.8537042085080645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Lékaři</c:v>
                </c:pt>
              </c:strCache>
            </c:strRef>
          </c:tx>
          <c:spPr>
            <a:ln w="6350" cap="rnd">
              <a:solidFill>
                <a:srgbClr val="4472C4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26"/>
              <c:layout>
                <c:manualLayout>
                  <c:x val="-8.8770528184642702E-3"/>
                  <c:y val="-9.3251132826876887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l">
                    <a:defRPr sz="1197" b="1" i="0" u="none" strike="noStrike" kern="1200" baseline="0">
                      <a:solidFill>
                        <a:srgbClr val="0070C0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511220385068377"/>
                      <c:h val="4.187912046559483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A8F9-4032-83D2-8A4706951BE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70C0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spPr>
              <a:ln w="25400" cap="rnd">
                <a:solidFill>
                  <a:srgbClr val="4472C4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strRef>
              <c:f>List1!$B$1:$DX$1</c:f>
              <c:strCache>
                <c:ptCount val="127"/>
                <c:pt idx="0">
                  <c:v>20.05.21</c:v>
                </c:pt>
                <c:pt idx="1">
                  <c:v>21.05.21</c:v>
                </c:pt>
                <c:pt idx="2">
                  <c:v>22.05.21</c:v>
                </c:pt>
                <c:pt idx="3">
                  <c:v>23.05.21</c:v>
                </c:pt>
                <c:pt idx="4">
                  <c:v>24.05.21</c:v>
                </c:pt>
                <c:pt idx="5">
                  <c:v>25.05.21</c:v>
                </c:pt>
                <c:pt idx="6">
                  <c:v>26.05.21</c:v>
                </c:pt>
                <c:pt idx="7">
                  <c:v>27.05.21</c:v>
                </c:pt>
                <c:pt idx="8">
                  <c:v>28.05.21</c:v>
                </c:pt>
                <c:pt idx="9">
                  <c:v>29.05.21</c:v>
                </c:pt>
                <c:pt idx="10">
                  <c:v>30.05.21</c:v>
                </c:pt>
                <c:pt idx="11">
                  <c:v>31.05.21</c:v>
                </c:pt>
                <c:pt idx="12">
                  <c:v>01.06.21</c:v>
                </c:pt>
                <c:pt idx="13">
                  <c:v>02.06.21</c:v>
                </c:pt>
                <c:pt idx="14">
                  <c:v>03.06.21</c:v>
                </c:pt>
                <c:pt idx="15">
                  <c:v>04.06.21</c:v>
                </c:pt>
                <c:pt idx="16">
                  <c:v>05.06.21</c:v>
                </c:pt>
                <c:pt idx="17">
                  <c:v>06.06.21</c:v>
                </c:pt>
                <c:pt idx="18">
                  <c:v>07.06.21</c:v>
                </c:pt>
                <c:pt idx="19">
                  <c:v>08.06.21</c:v>
                </c:pt>
                <c:pt idx="20">
                  <c:v>09.06.21</c:v>
                </c:pt>
                <c:pt idx="21">
                  <c:v>10.06.21</c:v>
                </c:pt>
                <c:pt idx="22">
                  <c:v>11.06.21</c:v>
                </c:pt>
                <c:pt idx="23">
                  <c:v>12.06.21</c:v>
                </c:pt>
                <c:pt idx="24">
                  <c:v>13.06.21</c:v>
                </c:pt>
                <c:pt idx="25">
                  <c:v>14.06.21</c:v>
                </c:pt>
                <c:pt idx="26">
                  <c:v>15.06.21</c:v>
                </c:pt>
                <c:pt idx="27">
                  <c:v>16.06.21</c:v>
                </c:pt>
                <c:pt idx="28">
                  <c:v>17.06.21</c:v>
                </c:pt>
                <c:pt idx="29">
                  <c:v>18.06.21</c:v>
                </c:pt>
                <c:pt idx="30">
                  <c:v>19.06.21</c:v>
                </c:pt>
                <c:pt idx="31">
                  <c:v>20.06.21</c:v>
                </c:pt>
                <c:pt idx="32">
                  <c:v>21.06.21</c:v>
                </c:pt>
                <c:pt idx="33">
                  <c:v>22.06.21</c:v>
                </c:pt>
                <c:pt idx="34">
                  <c:v>23.06.21</c:v>
                </c:pt>
                <c:pt idx="35">
                  <c:v>24.06.21</c:v>
                </c:pt>
                <c:pt idx="36">
                  <c:v>25.06.21</c:v>
                </c:pt>
                <c:pt idx="37">
                  <c:v>26.06.21</c:v>
                </c:pt>
                <c:pt idx="38">
                  <c:v>27.06.21</c:v>
                </c:pt>
                <c:pt idx="39">
                  <c:v>28.06.21</c:v>
                </c:pt>
                <c:pt idx="40">
                  <c:v>29.06.21</c:v>
                </c:pt>
                <c:pt idx="41">
                  <c:v>30.06.21</c:v>
                </c:pt>
                <c:pt idx="42">
                  <c:v>01.07.21</c:v>
                </c:pt>
                <c:pt idx="43">
                  <c:v>02.07.21</c:v>
                </c:pt>
                <c:pt idx="44">
                  <c:v>03.07.21</c:v>
                </c:pt>
                <c:pt idx="45">
                  <c:v>04.07.21</c:v>
                </c:pt>
                <c:pt idx="46">
                  <c:v>05.07.21</c:v>
                </c:pt>
                <c:pt idx="47">
                  <c:v>06.07.21</c:v>
                </c:pt>
                <c:pt idx="48">
                  <c:v>07.07.21</c:v>
                </c:pt>
                <c:pt idx="49">
                  <c:v>08.07.21</c:v>
                </c:pt>
                <c:pt idx="50">
                  <c:v>09.07.21</c:v>
                </c:pt>
                <c:pt idx="51">
                  <c:v>10.07.21</c:v>
                </c:pt>
                <c:pt idx="52">
                  <c:v>11.07.21</c:v>
                </c:pt>
                <c:pt idx="53">
                  <c:v>12.07.21</c:v>
                </c:pt>
                <c:pt idx="54">
                  <c:v>13.07.21</c:v>
                </c:pt>
                <c:pt idx="55">
                  <c:v>14.07.21</c:v>
                </c:pt>
                <c:pt idx="56">
                  <c:v>15.07.21</c:v>
                </c:pt>
                <c:pt idx="57">
                  <c:v>16.07.21</c:v>
                </c:pt>
                <c:pt idx="58">
                  <c:v>17.07.21</c:v>
                </c:pt>
                <c:pt idx="59">
                  <c:v>18.07.21</c:v>
                </c:pt>
                <c:pt idx="60">
                  <c:v>19.07.21</c:v>
                </c:pt>
                <c:pt idx="61">
                  <c:v>20.07.21</c:v>
                </c:pt>
                <c:pt idx="62">
                  <c:v>21.07.21</c:v>
                </c:pt>
                <c:pt idx="63">
                  <c:v>22.07.21</c:v>
                </c:pt>
                <c:pt idx="64">
                  <c:v>23.07.21</c:v>
                </c:pt>
                <c:pt idx="65">
                  <c:v>24.07.21</c:v>
                </c:pt>
                <c:pt idx="66">
                  <c:v>25.07.21</c:v>
                </c:pt>
                <c:pt idx="67">
                  <c:v>26.07.21</c:v>
                </c:pt>
                <c:pt idx="68">
                  <c:v>27.07.21</c:v>
                </c:pt>
                <c:pt idx="69">
                  <c:v>28.07.21</c:v>
                </c:pt>
                <c:pt idx="70">
                  <c:v>29.07.21</c:v>
                </c:pt>
                <c:pt idx="71">
                  <c:v>30.07.21</c:v>
                </c:pt>
                <c:pt idx="72">
                  <c:v>31.07.21</c:v>
                </c:pt>
                <c:pt idx="73">
                  <c:v>01.08.21</c:v>
                </c:pt>
                <c:pt idx="74">
                  <c:v>02.08.21</c:v>
                </c:pt>
                <c:pt idx="75">
                  <c:v>03.08.21</c:v>
                </c:pt>
                <c:pt idx="76">
                  <c:v>04.08.21</c:v>
                </c:pt>
                <c:pt idx="77">
                  <c:v>05.08.21</c:v>
                </c:pt>
                <c:pt idx="78">
                  <c:v>06.08.21</c:v>
                </c:pt>
                <c:pt idx="79">
                  <c:v>07.08.21</c:v>
                </c:pt>
                <c:pt idx="80">
                  <c:v>08.08.21</c:v>
                </c:pt>
                <c:pt idx="81">
                  <c:v>09.08.21</c:v>
                </c:pt>
                <c:pt idx="82">
                  <c:v>10.08.21</c:v>
                </c:pt>
                <c:pt idx="83">
                  <c:v>11.08.21</c:v>
                </c:pt>
                <c:pt idx="84">
                  <c:v>12.08.21</c:v>
                </c:pt>
                <c:pt idx="85">
                  <c:v>13.08.21</c:v>
                </c:pt>
                <c:pt idx="86">
                  <c:v>14.08.21</c:v>
                </c:pt>
                <c:pt idx="87">
                  <c:v>15.08.21</c:v>
                </c:pt>
                <c:pt idx="88">
                  <c:v>16.08.21</c:v>
                </c:pt>
                <c:pt idx="89">
                  <c:v>17.08.21</c:v>
                </c:pt>
                <c:pt idx="90">
                  <c:v>18.08.21</c:v>
                </c:pt>
                <c:pt idx="91">
                  <c:v>19.08.21</c:v>
                </c:pt>
                <c:pt idx="92">
                  <c:v>20.08.21</c:v>
                </c:pt>
                <c:pt idx="93">
                  <c:v>21.08.21</c:v>
                </c:pt>
                <c:pt idx="94">
                  <c:v>22.08.21</c:v>
                </c:pt>
                <c:pt idx="95">
                  <c:v>23.08.21</c:v>
                </c:pt>
                <c:pt idx="96">
                  <c:v>24.08.21</c:v>
                </c:pt>
                <c:pt idx="97">
                  <c:v>25.08.21</c:v>
                </c:pt>
                <c:pt idx="98">
                  <c:v>26.08.21</c:v>
                </c:pt>
                <c:pt idx="99">
                  <c:v>27.08.21</c:v>
                </c:pt>
                <c:pt idx="100">
                  <c:v>28.08.21</c:v>
                </c:pt>
                <c:pt idx="101">
                  <c:v>29.08.21</c:v>
                </c:pt>
                <c:pt idx="102">
                  <c:v>30.08.21</c:v>
                </c:pt>
                <c:pt idx="103">
                  <c:v>31.08.21</c:v>
                </c:pt>
                <c:pt idx="104">
                  <c:v>01.09.21</c:v>
                </c:pt>
                <c:pt idx="105">
                  <c:v>02.09.21</c:v>
                </c:pt>
                <c:pt idx="106">
                  <c:v>03.09.21</c:v>
                </c:pt>
                <c:pt idx="107">
                  <c:v>04.09.21</c:v>
                </c:pt>
                <c:pt idx="108">
                  <c:v>05.09.21</c:v>
                </c:pt>
                <c:pt idx="109">
                  <c:v>06.09.21</c:v>
                </c:pt>
                <c:pt idx="110">
                  <c:v>07.09.21</c:v>
                </c:pt>
                <c:pt idx="111">
                  <c:v>08.09.21</c:v>
                </c:pt>
                <c:pt idx="112">
                  <c:v>09.09.21</c:v>
                </c:pt>
                <c:pt idx="113">
                  <c:v>10.09.21</c:v>
                </c:pt>
                <c:pt idx="114">
                  <c:v>11.09.21</c:v>
                </c:pt>
                <c:pt idx="115">
                  <c:v>12.09.21</c:v>
                </c:pt>
                <c:pt idx="116">
                  <c:v>13.09.21</c:v>
                </c:pt>
                <c:pt idx="117">
                  <c:v>14.09.21</c:v>
                </c:pt>
                <c:pt idx="118">
                  <c:v>15.09.21</c:v>
                </c:pt>
                <c:pt idx="119">
                  <c:v>16.09.21</c:v>
                </c:pt>
                <c:pt idx="120">
                  <c:v>17.09.21</c:v>
                </c:pt>
                <c:pt idx="121">
                  <c:v>18.09.21</c:v>
                </c:pt>
                <c:pt idx="122">
                  <c:v>19.09.21</c:v>
                </c:pt>
                <c:pt idx="123">
                  <c:v>20.09.21</c:v>
                </c:pt>
                <c:pt idx="124">
                  <c:v>21.09.21</c:v>
                </c:pt>
                <c:pt idx="125">
                  <c:v>22.09.21</c:v>
                </c:pt>
                <c:pt idx="126">
                  <c:v>23.09.21</c:v>
                </c:pt>
              </c:strCache>
            </c:strRef>
          </c:cat>
          <c:val>
            <c:numRef>
              <c:f>List1!$B$2:$DX$2</c:f>
              <c:numCache>
                <c:formatCode>General</c:formatCode>
                <c:ptCount val="127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2</c:v>
                </c:pt>
                <c:pt idx="7">
                  <c:v>2</c:v>
                </c:pt>
                <c:pt idx="8">
                  <c:v>2</c:v>
                </c:pt>
                <c:pt idx="9">
                  <c:v>0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1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1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1</c:v>
                </c:pt>
                <c:pt idx="43">
                  <c:v>0</c:v>
                </c:pt>
                <c:pt idx="44">
                  <c:v>0</c:v>
                </c:pt>
                <c:pt idx="45">
                  <c:v>1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2</c:v>
                </c:pt>
                <c:pt idx="51">
                  <c:v>0</c:v>
                </c:pt>
                <c:pt idx="52">
                  <c:v>0</c:v>
                </c:pt>
                <c:pt idx="53">
                  <c:v>2</c:v>
                </c:pt>
                <c:pt idx="54">
                  <c:v>1</c:v>
                </c:pt>
                <c:pt idx="55">
                  <c:v>0</c:v>
                </c:pt>
                <c:pt idx="56">
                  <c:v>0</c:v>
                </c:pt>
                <c:pt idx="57">
                  <c:v>2</c:v>
                </c:pt>
                <c:pt idx="58">
                  <c:v>2</c:v>
                </c:pt>
                <c:pt idx="59">
                  <c:v>1</c:v>
                </c:pt>
                <c:pt idx="60">
                  <c:v>2</c:v>
                </c:pt>
                <c:pt idx="61">
                  <c:v>2</c:v>
                </c:pt>
                <c:pt idx="62">
                  <c:v>2</c:v>
                </c:pt>
                <c:pt idx="63">
                  <c:v>4</c:v>
                </c:pt>
                <c:pt idx="64">
                  <c:v>0</c:v>
                </c:pt>
                <c:pt idx="65">
                  <c:v>0</c:v>
                </c:pt>
                <c:pt idx="66">
                  <c:v>1</c:v>
                </c:pt>
                <c:pt idx="67">
                  <c:v>3</c:v>
                </c:pt>
                <c:pt idx="68">
                  <c:v>1</c:v>
                </c:pt>
                <c:pt idx="69">
                  <c:v>1</c:v>
                </c:pt>
                <c:pt idx="70">
                  <c:v>2</c:v>
                </c:pt>
                <c:pt idx="71">
                  <c:v>2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6</c:v>
                </c:pt>
                <c:pt idx="77">
                  <c:v>1</c:v>
                </c:pt>
                <c:pt idx="78">
                  <c:v>2</c:v>
                </c:pt>
                <c:pt idx="79">
                  <c:v>0</c:v>
                </c:pt>
                <c:pt idx="80">
                  <c:v>2</c:v>
                </c:pt>
                <c:pt idx="81">
                  <c:v>2</c:v>
                </c:pt>
                <c:pt idx="82">
                  <c:v>0</c:v>
                </c:pt>
                <c:pt idx="83">
                  <c:v>3</c:v>
                </c:pt>
                <c:pt idx="84">
                  <c:v>1</c:v>
                </c:pt>
                <c:pt idx="85">
                  <c:v>1</c:v>
                </c:pt>
                <c:pt idx="86">
                  <c:v>0</c:v>
                </c:pt>
                <c:pt idx="87">
                  <c:v>0</c:v>
                </c:pt>
                <c:pt idx="88">
                  <c:v>3</c:v>
                </c:pt>
                <c:pt idx="89">
                  <c:v>0</c:v>
                </c:pt>
                <c:pt idx="90">
                  <c:v>0</c:v>
                </c:pt>
                <c:pt idx="91">
                  <c:v>1</c:v>
                </c:pt>
                <c:pt idx="92">
                  <c:v>1</c:v>
                </c:pt>
                <c:pt idx="93">
                  <c:v>0</c:v>
                </c:pt>
                <c:pt idx="94">
                  <c:v>0</c:v>
                </c:pt>
                <c:pt idx="95">
                  <c:v>2</c:v>
                </c:pt>
                <c:pt idx="96">
                  <c:v>0</c:v>
                </c:pt>
                <c:pt idx="97">
                  <c:v>1</c:v>
                </c:pt>
                <c:pt idx="98">
                  <c:v>1</c:v>
                </c:pt>
                <c:pt idx="99">
                  <c:v>0</c:v>
                </c:pt>
                <c:pt idx="100">
                  <c:v>1</c:v>
                </c:pt>
                <c:pt idx="101">
                  <c:v>0</c:v>
                </c:pt>
                <c:pt idx="102">
                  <c:v>0</c:v>
                </c:pt>
                <c:pt idx="103">
                  <c:v>4</c:v>
                </c:pt>
                <c:pt idx="104">
                  <c:v>4</c:v>
                </c:pt>
                <c:pt idx="105">
                  <c:v>1</c:v>
                </c:pt>
                <c:pt idx="106">
                  <c:v>1</c:v>
                </c:pt>
                <c:pt idx="107">
                  <c:v>3</c:v>
                </c:pt>
                <c:pt idx="108">
                  <c:v>1</c:v>
                </c:pt>
                <c:pt idx="109">
                  <c:v>0</c:v>
                </c:pt>
                <c:pt idx="110">
                  <c:v>2</c:v>
                </c:pt>
                <c:pt idx="111">
                  <c:v>0</c:v>
                </c:pt>
                <c:pt idx="112">
                  <c:v>0</c:v>
                </c:pt>
                <c:pt idx="113">
                  <c:v>3</c:v>
                </c:pt>
                <c:pt idx="114">
                  <c:v>3</c:v>
                </c:pt>
                <c:pt idx="115">
                  <c:v>0</c:v>
                </c:pt>
                <c:pt idx="116">
                  <c:v>3</c:v>
                </c:pt>
                <c:pt idx="117">
                  <c:v>2</c:v>
                </c:pt>
                <c:pt idx="118">
                  <c:v>0</c:v>
                </c:pt>
                <c:pt idx="119">
                  <c:v>1</c:v>
                </c:pt>
                <c:pt idx="120">
                  <c:v>2</c:v>
                </c:pt>
                <c:pt idx="121">
                  <c:v>1</c:v>
                </c:pt>
                <c:pt idx="122">
                  <c:v>1</c:v>
                </c:pt>
                <c:pt idx="123">
                  <c:v>0</c:v>
                </c:pt>
                <c:pt idx="124">
                  <c:v>3</c:v>
                </c:pt>
                <c:pt idx="125">
                  <c:v>2</c:v>
                </c:pt>
                <c:pt idx="126">
                  <c:v>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8FD-43E4-BA1D-0B494D841FF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Sesterská povolání</c:v>
                </c:pt>
              </c:strCache>
            </c:strRef>
          </c:tx>
          <c:spPr>
            <a:ln w="6350" cap="rnd">
              <a:solidFill>
                <a:srgbClr val="ED7D31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26"/>
              <c:layout>
                <c:manualLayout>
                  <c:x val="-5.3262316910785623E-3"/>
                  <c:y val="-5.6936424938805654E-3"/>
                </c:manualLayout>
              </c:layout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528009897564401"/>
                      <c:h val="7.662379500904517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A8F9-4032-83D2-8A4706951BE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l">
                  <a:defRPr sz="1197" b="1" i="0" u="none" strike="noStrike" kern="1200" baseline="0">
                    <a:solidFill>
                      <a:srgbClr val="ED7D3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spPr>
              <a:ln w="25400" cap="rnd">
                <a:solidFill>
                  <a:srgbClr val="ED7D3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strRef>
              <c:f>List1!$B$1:$DX$1</c:f>
              <c:strCache>
                <c:ptCount val="127"/>
                <c:pt idx="0">
                  <c:v>20.05.21</c:v>
                </c:pt>
                <c:pt idx="1">
                  <c:v>21.05.21</c:v>
                </c:pt>
                <c:pt idx="2">
                  <c:v>22.05.21</c:v>
                </c:pt>
                <c:pt idx="3">
                  <c:v>23.05.21</c:v>
                </c:pt>
                <c:pt idx="4">
                  <c:v>24.05.21</c:v>
                </c:pt>
                <c:pt idx="5">
                  <c:v>25.05.21</c:v>
                </c:pt>
                <c:pt idx="6">
                  <c:v>26.05.21</c:v>
                </c:pt>
                <c:pt idx="7">
                  <c:v>27.05.21</c:v>
                </c:pt>
                <c:pt idx="8">
                  <c:v>28.05.21</c:v>
                </c:pt>
                <c:pt idx="9">
                  <c:v>29.05.21</c:v>
                </c:pt>
                <c:pt idx="10">
                  <c:v>30.05.21</c:v>
                </c:pt>
                <c:pt idx="11">
                  <c:v>31.05.21</c:v>
                </c:pt>
                <c:pt idx="12">
                  <c:v>01.06.21</c:v>
                </c:pt>
                <c:pt idx="13">
                  <c:v>02.06.21</c:v>
                </c:pt>
                <c:pt idx="14">
                  <c:v>03.06.21</c:v>
                </c:pt>
                <c:pt idx="15">
                  <c:v>04.06.21</c:v>
                </c:pt>
                <c:pt idx="16">
                  <c:v>05.06.21</c:v>
                </c:pt>
                <c:pt idx="17">
                  <c:v>06.06.21</c:v>
                </c:pt>
                <c:pt idx="18">
                  <c:v>07.06.21</c:v>
                </c:pt>
                <c:pt idx="19">
                  <c:v>08.06.21</c:v>
                </c:pt>
                <c:pt idx="20">
                  <c:v>09.06.21</c:v>
                </c:pt>
                <c:pt idx="21">
                  <c:v>10.06.21</c:v>
                </c:pt>
                <c:pt idx="22">
                  <c:v>11.06.21</c:v>
                </c:pt>
                <c:pt idx="23">
                  <c:v>12.06.21</c:v>
                </c:pt>
                <c:pt idx="24">
                  <c:v>13.06.21</c:v>
                </c:pt>
                <c:pt idx="25">
                  <c:v>14.06.21</c:v>
                </c:pt>
                <c:pt idx="26">
                  <c:v>15.06.21</c:v>
                </c:pt>
                <c:pt idx="27">
                  <c:v>16.06.21</c:v>
                </c:pt>
                <c:pt idx="28">
                  <c:v>17.06.21</c:v>
                </c:pt>
                <c:pt idx="29">
                  <c:v>18.06.21</c:v>
                </c:pt>
                <c:pt idx="30">
                  <c:v>19.06.21</c:v>
                </c:pt>
                <c:pt idx="31">
                  <c:v>20.06.21</c:v>
                </c:pt>
                <c:pt idx="32">
                  <c:v>21.06.21</c:v>
                </c:pt>
                <c:pt idx="33">
                  <c:v>22.06.21</c:v>
                </c:pt>
                <c:pt idx="34">
                  <c:v>23.06.21</c:v>
                </c:pt>
                <c:pt idx="35">
                  <c:v>24.06.21</c:v>
                </c:pt>
                <c:pt idx="36">
                  <c:v>25.06.21</c:v>
                </c:pt>
                <c:pt idx="37">
                  <c:v>26.06.21</c:v>
                </c:pt>
                <c:pt idx="38">
                  <c:v>27.06.21</c:v>
                </c:pt>
                <c:pt idx="39">
                  <c:v>28.06.21</c:v>
                </c:pt>
                <c:pt idx="40">
                  <c:v>29.06.21</c:v>
                </c:pt>
                <c:pt idx="41">
                  <c:v>30.06.21</c:v>
                </c:pt>
                <c:pt idx="42">
                  <c:v>01.07.21</c:v>
                </c:pt>
                <c:pt idx="43">
                  <c:v>02.07.21</c:v>
                </c:pt>
                <c:pt idx="44">
                  <c:v>03.07.21</c:v>
                </c:pt>
                <c:pt idx="45">
                  <c:v>04.07.21</c:v>
                </c:pt>
                <c:pt idx="46">
                  <c:v>05.07.21</c:v>
                </c:pt>
                <c:pt idx="47">
                  <c:v>06.07.21</c:v>
                </c:pt>
                <c:pt idx="48">
                  <c:v>07.07.21</c:v>
                </c:pt>
                <c:pt idx="49">
                  <c:v>08.07.21</c:v>
                </c:pt>
                <c:pt idx="50">
                  <c:v>09.07.21</c:v>
                </c:pt>
                <c:pt idx="51">
                  <c:v>10.07.21</c:v>
                </c:pt>
                <c:pt idx="52">
                  <c:v>11.07.21</c:v>
                </c:pt>
                <c:pt idx="53">
                  <c:v>12.07.21</c:v>
                </c:pt>
                <c:pt idx="54">
                  <c:v>13.07.21</c:v>
                </c:pt>
                <c:pt idx="55">
                  <c:v>14.07.21</c:v>
                </c:pt>
                <c:pt idx="56">
                  <c:v>15.07.21</c:v>
                </c:pt>
                <c:pt idx="57">
                  <c:v>16.07.21</c:v>
                </c:pt>
                <c:pt idx="58">
                  <c:v>17.07.21</c:v>
                </c:pt>
                <c:pt idx="59">
                  <c:v>18.07.21</c:v>
                </c:pt>
                <c:pt idx="60">
                  <c:v>19.07.21</c:v>
                </c:pt>
                <c:pt idx="61">
                  <c:v>20.07.21</c:v>
                </c:pt>
                <c:pt idx="62">
                  <c:v>21.07.21</c:v>
                </c:pt>
                <c:pt idx="63">
                  <c:v>22.07.21</c:v>
                </c:pt>
                <c:pt idx="64">
                  <c:v>23.07.21</c:v>
                </c:pt>
                <c:pt idx="65">
                  <c:v>24.07.21</c:v>
                </c:pt>
                <c:pt idx="66">
                  <c:v>25.07.21</c:v>
                </c:pt>
                <c:pt idx="67">
                  <c:v>26.07.21</c:v>
                </c:pt>
                <c:pt idx="68">
                  <c:v>27.07.21</c:v>
                </c:pt>
                <c:pt idx="69">
                  <c:v>28.07.21</c:v>
                </c:pt>
                <c:pt idx="70">
                  <c:v>29.07.21</c:v>
                </c:pt>
                <c:pt idx="71">
                  <c:v>30.07.21</c:v>
                </c:pt>
                <c:pt idx="72">
                  <c:v>31.07.21</c:v>
                </c:pt>
                <c:pt idx="73">
                  <c:v>01.08.21</c:v>
                </c:pt>
                <c:pt idx="74">
                  <c:v>02.08.21</c:v>
                </c:pt>
                <c:pt idx="75">
                  <c:v>03.08.21</c:v>
                </c:pt>
                <c:pt idx="76">
                  <c:v>04.08.21</c:v>
                </c:pt>
                <c:pt idx="77">
                  <c:v>05.08.21</c:v>
                </c:pt>
                <c:pt idx="78">
                  <c:v>06.08.21</c:v>
                </c:pt>
                <c:pt idx="79">
                  <c:v>07.08.21</c:v>
                </c:pt>
                <c:pt idx="80">
                  <c:v>08.08.21</c:v>
                </c:pt>
                <c:pt idx="81">
                  <c:v>09.08.21</c:v>
                </c:pt>
                <c:pt idx="82">
                  <c:v>10.08.21</c:v>
                </c:pt>
                <c:pt idx="83">
                  <c:v>11.08.21</c:v>
                </c:pt>
                <c:pt idx="84">
                  <c:v>12.08.21</c:v>
                </c:pt>
                <c:pt idx="85">
                  <c:v>13.08.21</c:v>
                </c:pt>
                <c:pt idx="86">
                  <c:v>14.08.21</c:v>
                </c:pt>
                <c:pt idx="87">
                  <c:v>15.08.21</c:v>
                </c:pt>
                <c:pt idx="88">
                  <c:v>16.08.21</c:v>
                </c:pt>
                <c:pt idx="89">
                  <c:v>17.08.21</c:v>
                </c:pt>
                <c:pt idx="90">
                  <c:v>18.08.21</c:v>
                </c:pt>
                <c:pt idx="91">
                  <c:v>19.08.21</c:v>
                </c:pt>
                <c:pt idx="92">
                  <c:v>20.08.21</c:v>
                </c:pt>
                <c:pt idx="93">
                  <c:v>21.08.21</c:v>
                </c:pt>
                <c:pt idx="94">
                  <c:v>22.08.21</c:v>
                </c:pt>
                <c:pt idx="95">
                  <c:v>23.08.21</c:v>
                </c:pt>
                <c:pt idx="96">
                  <c:v>24.08.21</c:v>
                </c:pt>
                <c:pt idx="97">
                  <c:v>25.08.21</c:v>
                </c:pt>
                <c:pt idx="98">
                  <c:v>26.08.21</c:v>
                </c:pt>
                <c:pt idx="99">
                  <c:v>27.08.21</c:v>
                </c:pt>
                <c:pt idx="100">
                  <c:v>28.08.21</c:v>
                </c:pt>
                <c:pt idx="101">
                  <c:v>29.08.21</c:v>
                </c:pt>
                <c:pt idx="102">
                  <c:v>30.08.21</c:v>
                </c:pt>
                <c:pt idx="103">
                  <c:v>31.08.21</c:v>
                </c:pt>
                <c:pt idx="104">
                  <c:v>01.09.21</c:v>
                </c:pt>
                <c:pt idx="105">
                  <c:v>02.09.21</c:v>
                </c:pt>
                <c:pt idx="106">
                  <c:v>03.09.21</c:v>
                </c:pt>
                <c:pt idx="107">
                  <c:v>04.09.21</c:v>
                </c:pt>
                <c:pt idx="108">
                  <c:v>05.09.21</c:v>
                </c:pt>
                <c:pt idx="109">
                  <c:v>06.09.21</c:v>
                </c:pt>
                <c:pt idx="110">
                  <c:v>07.09.21</c:v>
                </c:pt>
                <c:pt idx="111">
                  <c:v>08.09.21</c:v>
                </c:pt>
                <c:pt idx="112">
                  <c:v>09.09.21</c:v>
                </c:pt>
                <c:pt idx="113">
                  <c:v>10.09.21</c:v>
                </c:pt>
                <c:pt idx="114">
                  <c:v>11.09.21</c:v>
                </c:pt>
                <c:pt idx="115">
                  <c:v>12.09.21</c:v>
                </c:pt>
                <c:pt idx="116">
                  <c:v>13.09.21</c:v>
                </c:pt>
                <c:pt idx="117">
                  <c:v>14.09.21</c:v>
                </c:pt>
                <c:pt idx="118">
                  <c:v>15.09.21</c:v>
                </c:pt>
                <c:pt idx="119">
                  <c:v>16.09.21</c:v>
                </c:pt>
                <c:pt idx="120">
                  <c:v>17.09.21</c:v>
                </c:pt>
                <c:pt idx="121">
                  <c:v>18.09.21</c:v>
                </c:pt>
                <c:pt idx="122">
                  <c:v>19.09.21</c:v>
                </c:pt>
                <c:pt idx="123">
                  <c:v>20.09.21</c:v>
                </c:pt>
                <c:pt idx="124">
                  <c:v>21.09.21</c:v>
                </c:pt>
                <c:pt idx="125">
                  <c:v>22.09.21</c:v>
                </c:pt>
                <c:pt idx="126">
                  <c:v>23.09.21</c:v>
                </c:pt>
              </c:strCache>
            </c:strRef>
          </c:cat>
          <c:val>
            <c:numRef>
              <c:f>List1!$B$3:$DX$3</c:f>
              <c:numCache>
                <c:formatCode>General</c:formatCode>
                <c:ptCount val="127"/>
                <c:pt idx="0">
                  <c:v>6</c:v>
                </c:pt>
                <c:pt idx="1">
                  <c:v>3</c:v>
                </c:pt>
                <c:pt idx="2">
                  <c:v>2</c:v>
                </c:pt>
                <c:pt idx="3">
                  <c:v>0</c:v>
                </c:pt>
                <c:pt idx="4">
                  <c:v>2</c:v>
                </c:pt>
                <c:pt idx="5">
                  <c:v>4</c:v>
                </c:pt>
                <c:pt idx="6">
                  <c:v>5</c:v>
                </c:pt>
                <c:pt idx="7">
                  <c:v>2</c:v>
                </c:pt>
                <c:pt idx="8">
                  <c:v>3</c:v>
                </c:pt>
                <c:pt idx="9">
                  <c:v>0</c:v>
                </c:pt>
                <c:pt idx="10">
                  <c:v>0</c:v>
                </c:pt>
                <c:pt idx="11">
                  <c:v>3</c:v>
                </c:pt>
                <c:pt idx="12">
                  <c:v>1</c:v>
                </c:pt>
                <c:pt idx="13">
                  <c:v>0</c:v>
                </c:pt>
                <c:pt idx="14">
                  <c:v>5</c:v>
                </c:pt>
                <c:pt idx="15">
                  <c:v>1</c:v>
                </c:pt>
                <c:pt idx="16">
                  <c:v>0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0</c:v>
                </c:pt>
                <c:pt idx="23">
                  <c:v>1</c:v>
                </c:pt>
                <c:pt idx="24">
                  <c:v>2</c:v>
                </c:pt>
                <c:pt idx="25">
                  <c:v>1</c:v>
                </c:pt>
                <c:pt idx="26">
                  <c:v>0</c:v>
                </c:pt>
                <c:pt idx="27">
                  <c:v>0</c:v>
                </c:pt>
                <c:pt idx="28">
                  <c:v>2</c:v>
                </c:pt>
                <c:pt idx="29">
                  <c:v>3</c:v>
                </c:pt>
                <c:pt idx="30">
                  <c:v>1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1</c:v>
                </c:pt>
                <c:pt idx="36">
                  <c:v>0</c:v>
                </c:pt>
                <c:pt idx="37">
                  <c:v>0</c:v>
                </c:pt>
                <c:pt idx="38">
                  <c:v>1</c:v>
                </c:pt>
                <c:pt idx="39">
                  <c:v>1</c:v>
                </c:pt>
                <c:pt idx="40">
                  <c:v>2</c:v>
                </c:pt>
                <c:pt idx="41">
                  <c:v>0</c:v>
                </c:pt>
                <c:pt idx="42">
                  <c:v>1</c:v>
                </c:pt>
                <c:pt idx="43">
                  <c:v>2</c:v>
                </c:pt>
                <c:pt idx="44">
                  <c:v>0</c:v>
                </c:pt>
                <c:pt idx="45">
                  <c:v>1</c:v>
                </c:pt>
                <c:pt idx="46">
                  <c:v>4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1</c:v>
                </c:pt>
                <c:pt idx="51">
                  <c:v>0</c:v>
                </c:pt>
                <c:pt idx="52">
                  <c:v>0</c:v>
                </c:pt>
                <c:pt idx="53">
                  <c:v>2</c:v>
                </c:pt>
                <c:pt idx="54">
                  <c:v>3</c:v>
                </c:pt>
                <c:pt idx="55">
                  <c:v>2</c:v>
                </c:pt>
                <c:pt idx="56">
                  <c:v>2</c:v>
                </c:pt>
                <c:pt idx="57">
                  <c:v>0</c:v>
                </c:pt>
                <c:pt idx="58">
                  <c:v>0</c:v>
                </c:pt>
                <c:pt idx="59">
                  <c:v>1</c:v>
                </c:pt>
                <c:pt idx="60">
                  <c:v>4</c:v>
                </c:pt>
                <c:pt idx="61">
                  <c:v>0</c:v>
                </c:pt>
                <c:pt idx="62">
                  <c:v>4</c:v>
                </c:pt>
                <c:pt idx="63">
                  <c:v>0</c:v>
                </c:pt>
                <c:pt idx="64">
                  <c:v>4</c:v>
                </c:pt>
                <c:pt idx="65">
                  <c:v>1</c:v>
                </c:pt>
                <c:pt idx="66">
                  <c:v>1</c:v>
                </c:pt>
                <c:pt idx="67">
                  <c:v>3</c:v>
                </c:pt>
                <c:pt idx="68">
                  <c:v>0</c:v>
                </c:pt>
                <c:pt idx="69">
                  <c:v>0</c:v>
                </c:pt>
                <c:pt idx="70">
                  <c:v>1</c:v>
                </c:pt>
                <c:pt idx="71">
                  <c:v>1</c:v>
                </c:pt>
                <c:pt idx="72">
                  <c:v>1</c:v>
                </c:pt>
                <c:pt idx="73">
                  <c:v>0</c:v>
                </c:pt>
                <c:pt idx="74">
                  <c:v>0</c:v>
                </c:pt>
                <c:pt idx="75">
                  <c:v>2</c:v>
                </c:pt>
                <c:pt idx="76">
                  <c:v>1</c:v>
                </c:pt>
                <c:pt idx="77">
                  <c:v>0</c:v>
                </c:pt>
                <c:pt idx="78">
                  <c:v>1</c:v>
                </c:pt>
                <c:pt idx="79">
                  <c:v>0</c:v>
                </c:pt>
                <c:pt idx="80">
                  <c:v>0</c:v>
                </c:pt>
                <c:pt idx="81">
                  <c:v>2</c:v>
                </c:pt>
                <c:pt idx="82">
                  <c:v>2</c:v>
                </c:pt>
                <c:pt idx="83">
                  <c:v>2</c:v>
                </c:pt>
                <c:pt idx="84">
                  <c:v>1</c:v>
                </c:pt>
                <c:pt idx="85">
                  <c:v>2</c:v>
                </c:pt>
                <c:pt idx="86">
                  <c:v>3</c:v>
                </c:pt>
                <c:pt idx="87">
                  <c:v>1</c:v>
                </c:pt>
                <c:pt idx="88">
                  <c:v>3</c:v>
                </c:pt>
                <c:pt idx="89">
                  <c:v>3</c:v>
                </c:pt>
                <c:pt idx="90">
                  <c:v>2</c:v>
                </c:pt>
                <c:pt idx="91">
                  <c:v>1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4</c:v>
                </c:pt>
                <c:pt idx="96">
                  <c:v>2</c:v>
                </c:pt>
                <c:pt idx="97">
                  <c:v>0</c:v>
                </c:pt>
                <c:pt idx="98">
                  <c:v>2</c:v>
                </c:pt>
                <c:pt idx="99">
                  <c:v>2</c:v>
                </c:pt>
                <c:pt idx="100">
                  <c:v>2</c:v>
                </c:pt>
                <c:pt idx="101">
                  <c:v>1</c:v>
                </c:pt>
                <c:pt idx="102">
                  <c:v>0</c:v>
                </c:pt>
                <c:pt idx="103">
                  <c:v>2</c:v>
                </c:pt>
                <c:pt idx="104">
                  <c:v>1</c:v>
                </c:pt>
                <c:pt idx="105">
                  <c:v>5</c:v>
                </c:pt>
                <c:pt idx="106">
                  <c:v>6</c:v>
                </c:pt>
                <c:pt idx="107">
                  <c:v>1</c:v>
                </c:pt>
                <c:pt idx="108">
                  <c:v>0</c:v>
                </c:pt>
                <c:pt idx="109">
                  <c:v>2</c:v>
                </c:pt>
                <c:pt idx="110">
                  <c:v>5</c:v>
                </c:pt>
                <c:pt idx="111">
                  <c:v>1</c:v>
                </c:pt>
                <c:pt idx="112">
                  <c:v>4</c:v>
                </c:pt>
                <c:pt idx="113">
                  <c:v>0</c:v>
                </c:pt>
                <c:pt idx="114">
                  <c:v>1</c:v>
                </c:pt>
                <c:pt idx="115">
                  <c:v>2</c:v>
                </c:pt>
                <c:pt idx="116">
                  <c:v>3</c:v>
                </c:pt>
                <c:pt idx="117">
                  <c:v>3</c:v>
                </c:pt>
                <c:pt idx="118">
                  <c:v>3</c:v>
                </c:pt>
                <c:pt idx="119">
                  <c:v>7</c:v>
                </c:pt>
                <c:pt idx="120">
                  <c:v>5</c:v>
                </c:pt>
                <c:pt idx="121">
                  <c:v>2</c:v>
                </c:pt>
                <c:pt idx="122">
                  <c:v>2</c:v>
                </c:pt>
                <c:pt idx="123">
                  <c:v>10</c:v>
                </c:pt>
                <c:pt idx="124">
                  <c:v>7</c:v>
                </c:pt>
                <c:pt idx="125">
                  <c:v>6</c:v>
                </c:pt>
                <c:pt idx="126">
                  <c:v>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8FD-43E4-BA1D-0B494D841FF9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Ostatní zdravotničtí pracovníci</c:v>
                </c:pt>
              </c:strCache>
            </c:strRef>
          </c:tx>
          <c:spPr>
            <a:ln w="6350" cap="rnd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26"/>
              <c:layout>
                <c:manualLayout>
                  <c:x val="-5.3262316910785623E-3"/>
                  <c:y val="1.8931356703021672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noAutofit/>
                </a:bodyPr>
                <a:lstStyle/>
                <a:p>
                  <a:pPr algn="l">
                    <a:defRPr sz="1197" b="1" i="0" u="none" strike="noStrike" kern="1200" baseline="0">
                      <a:solidFill>
                        <a:schemeClr val="bg1">
                          <a:lumMod val="50000"/>
                        </a:schemeClr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485260247928398"/>
                      <c:h val="9.7380983193686071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A8F9-4032-83D2-8A4706951BE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l">
                  <a:defRPr sz="1197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spPr>
              <a:ln w="25400" cap="rnd">
                <a:solidFill>
                  <a:schemeClr val="bg1">
                    <a:lumMod val="65000"/>
                  </a:schemeClr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strRef>
              <c:f>List1!$B$1:$DX$1</c:f>
              <c:strCache>
                <c:ptCount val="127"/>
                <c:pt idx="0">
                  <c:v>20.05.21</c:v>
                </c:pt>
                <c:pt idx="1">
                  <c:v>21.05.21</c:v>
                </c:pt>
                <c:pt idx="2">
                  <c:v>22.05.21</c:v>
                </c:pt>
                <c:pt idx="3">
                  <c:v>23.05.21</c:v>
                </c:pt>
                <c:pt idx="4">
                  <c:v>24.05.21</c:v>
                </c:pt>
                <c:pt idx="5">
                  <c:v>25.05.21</c:v>
                </c:pt>
                <c:pt idx="6">
                  <c:v>26.05.21</c:v>
                </c:pt>
                <c:pt idx="7">
                  <c:v>27.05.21</c:v>
                </c:pt>
                <c:pt idx="8">
                  <c:v>28.05.21</c:v>
                </c:pt>
                <c:pt idx="9">
                  <c:v>29.05.21</c:v>
                </c:pt>
                <c:pt idx="10">
                  <c:v>30.05.21</c:v>
                </c:pt>
                <c:pt idx="11">
                  <c:v>31.05.21</c:v>
                </c:pt>
                <c:pt idx="12">
                  <c:v>01.06.21</c:v>
                </c:pt>
                <c:pt idx="13">
                  <c:v>02.06.21</c:v>
                </c:pt>
                <c:pt idx="14">
                  <c:v>03.06.21</c:v>
                </c:pt>
                <c:pt idx="15">
                  <c:v>04.06.21</c:v>
                </c:pt>
                <c:pt idx="16">
                  <c:v>05.06.21</c:v>
                </c:pt>
                <c:pt idx="17">
                  <c:v>06.06.21</c:v>
                </c:pt>
                <c:pt idx="18">
                  <c:v>07.06.21</c:v>
                </c:pt>
                <c:pt idx="19">
                  <c:v>08.06.21</c:v>
                </c:pt>
                <c:pt idx="20">
                  <c:v>09.06.21</c:v>
                </c:pt>
                <c:pt idx="21">
                  <c:v>10.06.21</c:v>
                </c:pt>
                <c:pt idx="22">
                  <c:v>11.06.21</c:v>
                </c:pt>
                <c:pt idx="23">
                  <c:v>12.06.21</c:v>
                </c:pt>
                <c:pt idx="24">
                  <c:v>13.06.21</c:v>
                </c:pt>
                <c:pt idx="25">
                  <c:v>14.06.21</c:v>
                </c:pt>
                <c:pt idx="26">
                  <c:v>15.06.21</c:v>
                </c:pt>
                <c:pt idx="27">
                  <c:v>16.06.21</c:v>
                </c:pt>
                <c:pt idx="28">
                  <c:v>17.06.21</c:v>
                </c:pt>
                <c:pt idx="29">
                  <c:v>18.06.21</c:v>
                </c:pt>
                <c:pt idx="30">
                  <c:v>19.06.21</c:v>
                </c:pt>
                <c:pt idx="31">
                  <c:v>20.06.21</c:v>
                </c:pt>
                <c:pt idx="32">
                  <c:v>21.06.21</c:v>
                </c:pt>
                <c:pt idx="33">
                  <c:v>22.06.21</c:v>
                </c:pt>
                <c:pt idx="34">
                  <c:v>23.06.21</c:v>
                </c:pt>
                <c:pt idx="35">
                  <c:v>24.06.21</c:v>
                </c:pt>
                <c:pt idx="36">
                  <c:v>25.06.21</c:v>
                </c:pt>
                <c:pt idx="37">
                  <c:v>26.06.21</c:v>
                </c:pt>
                <c:pt idx="38">
                  <c:v>27.06.21</c:v>
                </c:pt>
                <c:pt idx="39">
                  <c:v>28.06.21</c:v>
                </c:pt>
                <c:pt idx="40">
                  <c:v>29.06.21</c:v>
                </c:pt>
                <c:pt idx="41">
                  <c:v>30.06.21</c:v>
                </c:pt>
                <c:pt idx="42">
                  <c:v>01.07.21</c:v>
                </c:pt>
                <c:pt idx="43">
                  <c:v>02.07.21</c:v>
                </c:pt>
                <c:pt idx="44">
                  <c:v>03.07.21</c:v>
                </c:pt>
                <c:pt idx="45">
                  <c:v>04.07.21</c:v>
                </c:pt>
                <c:pt idx="46">
                  <c:v>05.07.21</c:v>
                </c:pt>
                <c:pt idx="47">
                  <c:v>06.07.21</c:v>
                </c:pt>
                <c:pt idx="48">
                  <c:v>07.07.21</c:v>
                </c:pt>
                <c:pt idx="49">
                  <c:v>08.07.21</c:v>
                </c:pt>
                <c:pt idx="50">
                  <c:v>09.07.21</c:v>
                </c:pt>
                <c:pt idx="51">
                  <c:v>10.07.21</c:v>
                </c:pt>
                <c:pt idx="52">
                  <c:v>11.07.21</c:v>
                </c:pt>
                <c:pt idx="53">
                  <c:v>12.07.21</c:v>
                </c:pt>
                <c:pt idx="54">
                  <c:v>13.07.21</c:v>
                </c:pt>
                <c:pt idx="55">
                  <c:v>14.07.21</c:v>
                </c:pt>
                <c:pt idx="56">
                  <c:v>15.07.21</c:v>
                </c:pt>
                <c:pt idx="57">
                  <c:v>16.07.21</c:v>
                </c:pt>
                <c:pt idx="58">
                  <c:v>17.07.21</c:v>
                </c:pt>
                <c:pt idx="59">
                  <c:v>18.07.21</c:v>
                </c:pt>
                <c:pt idx="60">
                  <c:v>19.07.21</c:v>
                </c:pt>
                <c:pt idx="61">
                  <c:v>20.07.21</c:v>
                </c:pt>
                <c:pt idx="62">
                  <c:v>21.07.21</c:v>
                </c:pt>
                <c:pt idx="63">
                  <c:v>22.07.21</c:v>
                </c:pt>
                <c:pt idx="64">
                  <c:v>23.07.21</c:v>
                </c:pt>
                <c:pt idx="65">
                  <c:v>24.07.21</c:v>
                </c:pt>
                <c:pt idx="66">
                  <c:v>25.07.21</c:v>
                </c:pt>
                <c:pt idx="67">
                  <c:v>26.07.21</c:v>
                </c:pt>
                <c:pt idx="68">
                  <c:v>27.07.21</c:v>
                </c:pt>
                <c:pt idx="69">
                  <c:v>28.07.21</c:v>
                </c:pt>
                <c:pt idx="70">
                  <c:v>29.07.21</c:v>
                </c:pt>
                <c:pt idx="71">
                  <c:v>30.07.21</c:v>
                </c:pt>
                <c:pt idx="72">
                  <c:v>31.07.21</c:v>
                </c:pt>
                <c:pt idx="73">
                  <c:v>01.08.21</c:v>
                </c:pt>
                <c:pt idx="74">
                  <c:v>02.08.21</c:v>
                </c:pt>
                <c:pt idx="75">
                  <c:v>03.08.21</c:v>
                </c:pt>
                <c:pt idx="76">
                  <c:v>04.08.21</c:v>
                </c:pt>
                <c:pt idx="77">
                  <c:v>05.08.21</c:v>
                </c:pt>
                <c:pt idx="78">
                  <c:v>06.08.21</c:v>
                </c:pt>
                <c:pt idx="79">
                  <c:v>07.08.21</c:v>
                </c:pt>
                <c:pt idx="80">
                  <c:v>08.08.21</c:v>
                </c:pt>
                <c:pt idx="81">
                  <c:v>09.08.21</c:v>
                </c:pt>
                <c:pt idx="82">
                  <c:v>10.08.21</c:v>
                </c:pt>
                <c:pt idx="83">
                  <c:v>11.08.21</c:v>
                </c:pt>
                <c:pt idx="84">
                  <c:v>12.08.21</c:v>
                </c:pt>
                <c:pt idx="85">
                  <c:v>13.08.21</c:v>
                </c:pt>
                <c:pt idx="86">
                  <c:v>14.08.21</c:v>
                </c:pt>
                <c:pt idx="87">
                  <c:v>15.08.21</c:v>
                </c:pt>
                <c:pt idx="88">
                  <c:v>16.08.21</c:v>
                </c:pt>
                <c:pt idx="89">
                  <c:v>17.08.21</c:v>
                </c:pt>
                <c:pt idx="90">
                  <c:v>18.08.21</c:v>
                </c:pt>
                <c:pt idx="91">
                  <c:v>19.08.21</c:v>
                </c:pt>
                <c:pt idx="92">
                  <c:v>20.08.21</c:v>
                </c:pt>
                <c:pt idx="93">
                  <c:v>21.08.21</c:v>
                </c:pt>
                <c:pt idx="94">
                  <c:v>22.08.21</c:v>
                </c:pt>
                <c:pt idx="95">
                  <c:v>23.08.21</c:v>
                </c:pt>
                <c:pt idx="96">
                  <c:v>24.08.21</c:v>
                </c:pt>
                <c:pt idx="97">
                  <c:v>25.08.21</c:v>
                </c:pt>
                <c:pt idx="98">
                  <c:v>26.08.21</c:v>
                </c:pt>
                <c:pt idx="99">
                  <c:v>27.08.21</c:v>
                </c:pt>
                <c:pt idx="100">
                  <c:v>28.08.21</c:v>
                </c:pt>
                <c:pt idx="101">
                  <c:v>29.08.21</c:v>
                </c:pt>
                <c:pt idx="102">
                  <c:v>30.08.21</c:v>
                </c:pt>
                <c:pt idx="103">
                  <c:v>31.08.21</c:v>
                </c:pt>
                <c:pt idx="104">
                  <c:v>01.09.21</c:v>
                </c:pt>
                <c:pt idx="105">
                  <c:v>02.09.21</c:v>
                </c:pt>
                <c:pt idx="106">
                  <c:v>03.09.21</c:v>
                </c:pt>
                <c:pt idx="107">
                  <c:v>04.09.21</c:v>
                </c:pt>
                <c:pt idx="108">
                  <c:v>05.09.21</c:v>
                </c:pt>
                <c:pt idx="109">
                  <c:v>06.09.21</c:v>
                </c:pt>
                <c:pt idx="110">
                  <c:v>07.09.21</c:v>
                </c:pt>
                <c:pt idx="111">
                  <c:v>08.09.21</c:v>
                </c:pt>
                <c:pt idx="112">
                  <c:v>09.09.21</c:v>
                </c:pt>
                <c:pt idx="113">
                  <c:v>10.09.21</c:v>
                </c:pt>
                <c:pt idx="114">
                  <c:v>11.09.21</c:v>
                </c:pt>
                <c:pt idx="115">
                  <c:v>12.09.21</c:v>
                </c:pt>
                <c:pt idx="116">
                  <c:v>13.09.21</c:v>
                </c:pt>
                <c:pt idx="117">
                  <c:v>14.09.21</c:v>
                </c:pt>
                <c:pt idx="118">
                  <c:v>15.09.21</c:v>
                </c:pt>
                <c:pt idx="119">
                  <c:v>16.09.21</c:v>
                </c:pt>
                <c:pt idx="120">
                  <c:v>17.09.21</c:v>
                </c:pt>
                <c:pt idx="121">
                  <c:v>18.09.21</c:v>
                </c:pt>
                <c:pt idx="122">
                  <c:v>19.09.21</c:v>
                </c:pt>
                <c:pt idx="123">
                  <c:v>20.09.21</c:v>
                </c:pt>
                <c:pt idx="124">
                  <c:v>21.09.21</c:v>
                </c:pt>
                <c:pt idx="125">
                  <c:v>22.09.21</c:v>
                </c:pt>
                <c:pt idx="126">
                  <c:v>23.09.21</c:v>
                </c:pt>
              </c:strCache>
            </c:strRef>
          </c:cat>
          <c:val>
            <c:numRef>
              <c:f>List1!$B$4:$DX$4</c:f>
              <c:numCache>
                <c:formatCode>General</c:formatCode>
                <c:ptCount val="127"/>
                <c:pt idx="0">
                  <c:v>6</c:v>
                </c:pt>
                <c:pt idx="1">
                  <c:v>4</c:v>
                </c:pt>
                <c:pt idx="2">
                  <c:v>1</c:v>
                </c:pt>
                <c:pt idx="3">
                  <c:v>0</c:v>
                </c:pt>
                <c:pt idx="4">
                  <c:v>6</c:v>
                </c:pt>
                <c:pt idx="5">
                  <c:v>0</c:v>
                </c:pt>
                <c:pt idx="6">
                  <c:v>6</c:v>
                </c:pt>
                <c:pt idx="7">
                  <c:v>1</c:v>
                </c:pt>
                <c:pt idx="8">
                  <c:v>2</c:v>
                </c:pt>
                <c:pt idx="9">
                  <c:v>3</c:v>
                </c:pt>
                <c:pt idx="10">
                  <c:v>0</c:v>
                </c:pt>
                <c:pt idx="11">
                  <c:v>2</c:v>
                </c:pt>
                <c:pt idx="12">
                  <c:v>1</c:v>
                </c:pt>
                <c:pt idx="13">
                  <c:v>1</c:v>
                </c:pt>
                <c:pt idx="14">
                  <c:v>2</c:v>
                </c:pt>
                <c:pt idx="15">
                  <c:v>1</c:v>
                </c:pt>
                <c:pt idx="16">
                  <c:v>1</c:v>
                </c:pt>
                <c:pt idx="17">
                  <c:v>0</c:v>
                </c:pt>
                <c:pt idx="18">
                  <c:v>2</c:v>
                </c:pt>
                <c:pt idx="19">
                  <c:v>1</c:v>
                </c:pt>
                <c:pt idx="20">
                  <c:v>2</c:v>
                </c:pt>
                <c:pt idx="21">
                  <c:v>1</c:v>
                </c:pt>
                <c:pt idx="22">
                  <c:v>0</c:v>
                </c:pt>
                <c:pt idx="23">
                  <c:v>1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1</c:v>
                </c:pt>
                <c:pt idx="28">
                  <c:v>2</c:v>
                </c:pt>
                <c:pt idx="29">
                  <c:v>0</c:v>
                </c:pt>
                <c:pt idx="30">
                  <c:v>1</c:v>
                </c:pt>
                <c:pt idx="31">
                  <c:v>1</c:v>
                </c:pt>
                <c:pt idx="32">
                  <c:v>0</c:v>
                </c:pt>
                <c:pt idx="33">
                  <c:v>0</c:v>
                </c:pt>
                <c:pt idx="34">
                  <c:v>2</c:v>
                </c:pt>
                <c:pt idx="35">
                  <c:v>2</c:v>
                </c:pt>
                <c:pt idx="36">
                  <c:v>0</c:v>
                </c:pt>
                <c:pt idx="37">
                  <c:v>1</c:v>
                </c:pt>
                <c:pt idx="38">
                  <c:v>2</c:v>
                </c:pt>
                <c:pt idx="39">
                  <c:v>0</c:v>
                </c:pt>
                <c:pt idx="40">
                  <c:v>1</c:v>
                </c:pt>
                <c:pt idx="41">
                  <c:v>0</c:v>
                </c:pt>
                <c:pt idx="42">
                  <c:v>0</c:v>
                </c:pt>
                <c:pt idx="43">
                  <c:v>1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1</c:v>
                </c:pt>
                <c:pt idx="48">
                  <c:v>1</c:v>
                </c:pt>
                <c:pt idx="49">
                  <c:v>4</c:v>
                </c:pt>
                <c:pt idx="50">
                  <c:v>4</c:v>
                </c:pt>
                <c:pt idx="51">
                  <c:v>0</c:v>
                </c:pt>
                <c:pt idx="52">
                  <c:v>0</c:v>
                </c:pt>
                <c:pt idx="53">
                  <c:v>3</c:v>
                </c:pt>
                <c:pt idx="54">
                  <c:v>0</c:v>
                </c:pt>
                <c:pt idx="55">
                  <c:v>4</c:v>
                </c:pt>
                <c:pt idx="56">
                  <c:v>2</c:v>
                </c:pt>
                <c:pt idx="57">
                  <c:v>5</c:v>
                </c:pt>
                <c:pt idx="58">
                  <c:v>1</c:v>
                </c:pt>
                <c:pt idx="59">
                  <c:v>1</c:v>
                </c:pt>
                <c:pt idx="60">
                  <c:v>3</c:v>
                </c:pt>
                <c:pt idx="61">
                  <c:v>5</c:v>
                </c:pt>
                <c:pt idx="62">
                  <c:v>1</c:v>
                </c:pt>
                <c:pt idx="63">
                  <c:v>3</c:v>
                </c:pt>
                <c:pt idx="64">
                  <c:v>2</c:v>
                </c:pt>
                <c:pt idx="65">
                  <c:v>0</c:v>
                </c:pt>
                <c:pt idx="66">
                  <c:v>1</c:v>
                </c:pt>
                <c:pt idx="67">
                  <c:v>3</c:v>
                </c:pt>
                <c:pt idx="68">
                  <c:v>4</c:v>
                </c:pt>
                <c:pt idx="69">
                  <c:v>1</c:v>
                </c:pt>
                <c:pt idx="70">
                  <c:v>3</c:v>
                </c:pt>
                <c:pt idx="71">
                  <c:v>1</c:v>
                </c:pt>
                <c:pt idx="72">
                  <c:v>1</c:v>
                </c:pt>
                <c:pt idx="73">
                  <c:v>1</c:v>
                </c:pt>
                <c:pt idx="74">
                  <c:v>2</c:v>
                </c:pt>
                <c:pt idx="75">
                  <c:v>3</c:v>
                </c:pt>
                <c:pt idx="76">
                  <c:v>3</c:v>
                </c:pt>
                <c:pt idx="77">
                  <c:v>1</c:v>
                </c:pt>
                <c:pt idx="78">
                  <c:v>2</c:v>
                </c:pt>
                <c:pt idx="79">
                  <c:v>1</c:v>
                </c:pt>
                <c:pt idx="80">
                  <c:v>0</c:v>
                </c:pt>
                <c:pt idx="81">
                  <c:v>6</c:v>
                </c:pt>
                <c:pt idx="82">
                  <c:v>0</c:v>
                </c:pt>
                <c:pt idx="83">
                  <c:v>1</c:v>
                </c:pt>
                <c:pt idx="84">
                  <c:v>2</c:v>
                </c:pt>
                <c:pt idx="85">
                  <c:v>5</c:v>
                </c:pt>
                <c:pt idx="86">
                  <c:v>2</c:v>
                </c:pt>
                <c:pt idx="87">
                  <c:v>1</c:v>
                </c:pt>
                <c:pt idx="88">
                  <c:v>1</c:v>
                </c:pt>
                <c:pt idx="89">
                  <c:v>1</c:v>
                </c:pt>
                <c:pt idx="90">
                  <c:v>1</c:v>
                </c:pt>
                <c:pt idx="91">
                  <c:v>0</c:v>
                </c:pt>
                <c:pt idx="92">
                  <c:v>3</c:v>
                </c:pt>
                <c:pt idx="93">
                  <c:v>1</c:v>
                </c:pt>
                <c:pt idx="94">
                  <c:v>2</c:v>
                </c:pt>
                <c:pt idx="95">
                  <c:v>1</c:v>
                </c:pt>
                <c:pt idx="96">
                  <c:v>2</c:v>
                </c:pt>
                <c:pt idx="97">
                  <c:v>5</c:v>
                </c:pt>
                <c:pt idx="98">
                  <c:v>2</c:v>
                </c:pt>
                <c:pt idx="99">
                  <c:v>1</c:v>
                </c:pt>
                <c:pt idx="100">
                  <c:v>0</c:v>
                </c:pt>
                <c:pt idx="101">
                  <c:v>1</c:v>
                </c:pt>
                <c:pt idx="102">
                  <c:v>1</c:v>
                </c:pt>
                <c:pt idx="103">
                  <c:v>0</c:v>
                </c:pt>
                <c:pt idx="104">
                  <c:v>2</c:v>
                </c:pt>
                <c:pt idx="105">
                  <c:v>4</c:v>
                </c:pt>
                <c:pt idx="106">
                  <c:v>6</c:v>
                </c:pt>
                <c:pt idx="107">
                  <c:v>5</c:v>
                </c:pt>
                <c:pt idx="108">
                  <c:v>1</c:v>
                </c:pt>
                <c:pt idx="109">
                  <c:v>5</c:v>
                </c:pt>
                <c:pt idx="110">
                  <c:v>5</c:v>
                </c:pt>
                <c:pt idx="111">
                  <c:v>1</c:v>
                </c:pt>
                <c:pt idx="112">
                  <c:v>3</c:v>
                </c:pt>
                <c:pt idx="113">
                  <c:v>2</c:v>
                </c:pt>
                <c:pt idx="114">
                  <c:v>0</c:v>
                </c:pt>
                <c:pt idx="115">
                  <c:v>3</c:v>
                </c:pt>
                <c:pt idx="116">
                  <c:v>2</c:v>
                </c:pt>
                <c:pt idx="117">
                  <c:v>3</c:v>
                </c:pt>
                <c:pt idx="118">
                  <c:v>5</c:v>
                </c:pt>
                <c:pt idx="119">
                  <c:v>7</c:v>
                </c:pt>
                <c:pt idx="120">
                  <c:v>4</c:v>
                </c:pt>
                <c:pt idx="121">
                  <c:v>2</c:v>
                </c:pt>
                <c:pt idx="122">
                  <c:v>5</c:v>
                </c:pt>
                <c:pt idx="123">
                  <c:v>7</c:v>
                </c:pt>
                <c:pt idx="124">
                  <c:v>10</c:v>
                </c:pt>
                <c:pt idx="125">
                  <c:v>7</c:v>
                </c:pt>
                <c:pt idx="126">
                  <c:v>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E8FD-43E4-BA1D-0B494D841F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04314152"/>
        <c:axId val="604312192"/>
      </c:lineChart>
      <c:catAx>
        <c:axId val="6043141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2192"/>
        <c:crosses val="autoZero"/>
        <c:auto val="1"/>
        <c:lblAlgn val="ctr"/>
        <c:lblOffset val="100"/>
        <c:tickLblSkip val="7"/>
        <c:noMultiLvlLbl val="0"/>
      </c:catAx>
      <c:valAx>
        <c:axId val="604312192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41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1338613455438066E-2"/>
          <c:y val="2.9263177408738655E-2"/>
          <c:w val="0.67928837285169852"/>
          <c:h val="0.8537042085080645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Lékaři</c:v>
                </c:pt>
              </c:strCache>
            </c:strRef>
          </c:tx>
          <c:spPr>
            <a:ln w="28575" cap="rnd">
              <a:solidFill>
                <a:srgbClr val="4472C4"/>
              </a:solidFill>
              <a:round/>
            </a:ln>
            <a:effectLst/>
          </c:spPr>
          <c:marker>
            <c:symbol val="none"/>
          </c:marker>
          <c:dLbls>
            <c:dLbl>
              <c:idx val="126"/>
              <c:layout>
                <c:manualLayout>
                  <c:x val="3.2845470587363021E-4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l">
                    <a:defRPr sz="1197" b="1" i="0" u="none" strike="noStrike" kern="1200" baseline="0">
                      <a:solidFill>
                        <a:srgbClr val="0070C0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3886443207452346"/>
                      <c:h val="4.187914712576739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A8F9-4032-83D2-8A4706951BE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70C0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List1!$B$1:$DX$1</c:f>
              <c:strCache>
                <c:ptCount val="127"/>
                <c:pt idx="0">
                  <c:v>20.05.21</c:v>
                </c:pt>
                <c:pt idx="1">
                  <c:v>21.05.21</c:v>
                </c:pt>
                <c:pt idx="2">
                  <c:v>22.05.21</c:v>
                </c:pt>
                <c:pt idx="3">
                  <c:v>23.05.21</c:v>
                </c:pt>
                <c:pt idx="4">
                  <c:v>24.05.21</c:v>
                </c:pt>
                <c:pt idx="5">
                  <c:v>25.05.21</c:v>
                </c:pt>
                <c:pt idx="6">
                  <c:v>26.05.21</c:v>
                </c:pt>
                <c:pt idx="7">
                  <c:v>27.05.21</c:v>
                </c:pt>
                <c:pt idx="8">
                  <c:v>28.05.21</c:v>
                </c:pt>
                <c:pt idx="9">
                  <c:v>29.05.21</c:v>
                </c:pt>
                <c:pt idx="10">
                  <c:v>30.05.21</c:v>
                </c:pt>
                <c:pt idx="11">
                  <c:v>31.05.21</c:v>
                </c:pt>
                <c:pt idx="12">
                  <c:v>01.06.21</c:v>
                </c:pt>
                <c:pt idx="13">
                  <c:v>02.06.21</c:v>
                </c:pt>
                <c:pt idx="14">
                  <c:v>03.06.21</c:v>
                </c:pt>
                <c:pt idx="15">
                  <c:v>04.06.21</c:v>
                </c:pt>
                <c:pt idx="16">
                  <c:v>05.06.21</c:v>
                </c:pt>
                <c:pt idx="17">
                  <c:v>06.06.21</c:v>
                </c:pt>
                <c:pt idx="18">
                  <c:v>07.06.21</c:v>
                </c:pt>
                <c:pt idx="19">
                  <c:v>08.06.21</c:v>
                </c:pt>
                <c:pt idx="20">
                  <c:v>09.06.21</c:v>
                </c:pt>
                <c:pt idx="21">
                  <c:v>10.06.21</c:v>
                </c:pt>
                <c:pt idx="22">
                  <c:v>11.06.21</c:v>
                </c:pt>
                <c:pt idx="23">
                  <c:v>12.06.21</c:v>
                </c:pt>
                <c:pt idx="24">
                  <c:v>13.06.21</c:v>
                </c:pt>
                <c:pt idx="25">
                  <c:v>14.06.21</c:v>
                </c:pt>
                <c:pt idx="26">
                  <c:v>15.06.21</c:v>
                </c:pt>
                <c:pt idx="27">
                  <c:v>16.06.21</c:v>
                </c:pt>
                <c:pt idx="28">
                  <c:v>17.06.21</c:v>
                </c:pt>
                <c:pt idx="29">
                  <c:v>18.06.21</c:v>
                </c:pt>
                <c:pt idx="30">
                  <c:v>19.06.21</c:v>
                </c:pt>
                <c:pt idx="31">
                  <c:v>20.06.21</c:v>
                </c:pt>
                <c:pt idx="32">
                  <c:v>21.06.21</c:v>
                </c:pt>
                <c:pt idx="33">
                  <c:v>22.06.21</c:v>
                </c:pt>
                <c:pt idx="34">
                  <c:v>23.06.21</c:v>
                </c:pt>
                <c:pt idx="35">
                  <c:v>24.06.21</c:v>
                </c:pt>
                <c:pt idx="36">
                  <c:v>25.06.21</c:v>
                </c:pt>
                <c:pt idx="37">
                  <c:v>26.06.21</c:v>
                </c:pt>
                <c:pt idx="38">
                  <c:v>27.06.21</c:v>
                </c:pt>
                <c:pt idx="39">
                  <c:v>28.06.21</c:v>
                </c:pt>
                <c:pt idx="40">
                  <c:v>29.06.21</c:v>
                </c:pt>
                <c:pt idx="41">
                  <c:v>30.06.21</c:v>
                </c:pt>
                <c:pt idx="42">
                  <c:v>01.07.21</c:v>
                </c:pt>
                <c:pt idx="43">
                  <c:v>02.07.21</c:v>
                </c:pt>
                <c:pt idx="44">
                  <c:v>03.07.21</c:v>
                </c:pt>
                <c:pt idx="45">
                  <c:v>04.07.21</c:v>
                </c:pt>
                <c:pt idx="46">
                  <c:v>05.07.21</c:v>
                </c:pt>
                <c:pt idx="47">
                  <c:v>06.07.21</c:v>
                </c:pt>
                <c:pt idx="48">
                  <c:v>07.07.21</c:v>
                </c:pt>
                <c:pt idx="49">
                  <c:v>08.07.21</c:v>
                </c:pt>
                <c:pt idx="50">
                  <c:v>09.07.21</c:v>
                </c:pt>
                <c:pt idx="51">
                  <c:v>10.07.21</c:v>
                </c:pt>
                <c:pt idx="52">
                  <c:v>11.07.21</c:v>
                </c:pt>
                <c:pt idx="53">
                  <c:v>12.07.21</c:v>
                </c:pt>
                <c:pt idx="54">
                  <c:v>13.07.21</c:v>
                </c:pt>
                <c:pt idx="55">
                  <c:v>14.07.21</c:v>
                </c:pt>
                <c:pt idx="56">
                  <c:v>15.07.21</c:v>
                </c:pt>
                <c:pt idx="57">
                  <c:v>16.07.21</c:v>
                </c:pt>
                <c:pt idx="58">
                  <c:v>17.07.21</c:v>
                </c:pt>
                <c:pt idx="59">
                  <c:v>18.07.21</c:v>
                </c:pt>
                <c:pt idx="60">
                  <c:v>19.07.21</c:v>
                </c:pt>
                <c:pt idx="61">
                  <c:v>20.07.21</c:v>
                </c:pt>
                <c:pt idx="62">
                  <c:v>21.07.21</c:v>
                </c:pt>
                <c:pt idx="63">
                  <c:v>22.07.21</c:v>
                </c:pt>
                <c:pt idx="64">
                  <c:v>23.07.21</c:v>
                </c:pt>
                <c:pt idx="65">
                  <c:v>24.07.21</c:v>
                </c:pt>
                <c:pt idx="66">
                  <c:v>25.07.21</c:v>
                </c:pt>
                <c:pt idx="67">
                  <c:v>26.07.21</c:v>
                </c:pt>
                <c:pt idx="68">
                  <c:v>27.07.21</c:v>
                </c:pt>
                <c:pt idx="69">
                  <c:v>28.07.21</c:v>
                </c:pt>
                <c:pt idx="70">
                  <c:v>29.07.21</c:v>
                </c:pt>
                <c:pt idx="71">
                  <c:v>30.07.21</c:v>
                </c:pt>
                <c:pt idx="72">
                  <c:v>31.07.21</c:v>
                </c:pt>
                <c:pt idx="73">
                  <c:v>01.08.21</c:v>
                </c:pt>
                <c:pt idx="74">
                  <c:v>02.08.21</c:v>
                </c:pt>
                <c:pt idx="75">
                  <c:v>03.08.21</c:v>
                </c:pt>
                <c:pt idx="76">
                  <c:v>04.08.21</c:v>
                </c:pt>
                <c:pt idx="77">
                  <c:v>05.08.21</c:v>
                </c:pt>
                <c:pt idx="78">
                  <c:v>06.08.21</c:v>
                </c:pt>
                <c:pt idx="79">
                  <c:v>07.08.21</c:v>
                </c:pt>
                <c:pt idx="80">
                  <c:v>08.08.21</c:v>
                </c:pt>
                <c:pt idx="81">
                  <c:v>09.08.21</c:v>
                </c:pt>
                <c:pt idx="82">
                  <c:v>10.08.21</c:v>
                </c:pt>
                <c:pt idx="83">
                  <c:v>11.08.21</c:v>
                </c:pt>
                <c:pt idx="84">
                  <c:v>12.08.21</c:v>
                </c:pt>
                <c:pt idx="85">
                  <c:v>13.08.21</c:v>
                </c:pt>
                <c:pt idx="86">
                  <c:v>14.08.21</c:v>
                </c:pt>
                <c:pt idx="87">
                  <c:v>15.08.21</c:v>
                </c:pt>
                <c:pt idx="88">
                  <c:v>16.08.21</c:v>
                </c:pt>
                <c:pt idx="89">
                  <c:v>17.08.21</c:v>
                </c:pt>
                <c:pt idx="90">
                  <c:v>18.08.21</c:v>
                </c:pt>
                <c:pt idx="91">
                  <c:v>19.08.21</c:v>
                </c:pt>
                <c:pt idx="92">
                  <c:v>20.08.21</c:v>
                </c:pt>
                <c:pt idx="93">
                  <c:v>21.08.21</c:v>
                </c:pt>
                <c:pt idx="94">
                  <c:v>22.08.21</c:v>
                </c:pt>
                <c:pt idx="95">
                  <c:v>23.08.21</c:v>
                </c:pt>
                <c:pt idx="96">
                  <c:v>24.08.21</c:v>
                </c:pt>
                <c:pt idx="97">
                  <c:v>25.08.21</c:v>
                </c:pt>
                <c:pt idx="98">
                  <c:v>26.08.21</c:v>
                </c:pt>
                <c:pt idx="99">
                  <c:v>27.08.21</c:v>
                </c:pt>
                <c:pt idx="100">
                  <c:v>28.08.21</c:v>
                </c:pt>
                <c:pt idx="101">
                  <c:v>29.08.21</c:v>
                </c:pt>
                <c:pt idx="102">
                  <c:v>30.08.21</c:v>
                </c:pt>
                <c:pt idx="103">
                  <c:v>31.08.21</c:v>
                </c:pt>
                <c:pt idx="104">
                  <c:v>01.09.21</c:v>
                </c:pt>
                <c:pt idx="105">
                  <c:v>02.09.21</c:v>
                </c:pt>
                <c:pt idx="106">
                  <c:v>03.09.21</c:v>
                </c:pt>
                <c:pt idx="107">
                  <c:v>04.09.21</c:v>
                </c:pt>
                <c:pt idx="108">
                  <c:v>05.09.21</c:v>
                </c:pt>
                <c:pt idx="109">
                  <c:v>06.09.21</c:v>
                </c:pt>
                <c:pt idx="110">
                  <c:v>07.09.21</c:v>
                </c:pt>
                <c:pt idx="111">
                  <c:v>08.09.21</c:v>
                </c:pt>
                <c:pt idx="112">
                  <c:v>09.09.21</c:v>
                </c:pt>
                <c:pt idx="113">
                  <c:v>10.09.21</c:v>
                </c:pt>
                <c:pt idx="114">
                  <c:v>11.09.21</c:v>
                </c:pt>
                <c:pt idx="115">
                  <c:v>12.09.21</c:v>
                </c:pt>
                <c:pt idx="116">
                  <c:v>13.09.21</c:v>
                </c:pt>
                <c:pt idx="117">
                  <c:v>14.09.21</c:v>
                </c:pt>
                <c:pt idx="118">
                  <c:v>15.09.21</c:v>
                </c:pt>
                <c:pt idx="119">
                  <c:v>16.09.21</c:v>
                </c:pt>
                <c:pt idx="120">
                  <c:v>17.09.21</c:v>
                </c:pt>
                <c:pt idx="121">
                  <c:v>18.09.21</c:v>
                </c:pt>
                <c:pt idx="122">
                  <c:v>19.09.21</c:v>
                </c:pt>
                <c:pt idx="123">
                  <c:v>20.09.21</c:v>
                </c:pt>
                <c:pt idx="124">
                  <c:v>21.09.21</c:v>
                </c:pt>
                <c:pt idx="125">
                  <c:v>22.09.21</c:v>
                </c:pt>
                <c:pt idx="126">
                  <c:v>23.09.21</c:v>
                </c:pt>
              </c:strCache>
            </c:strRef>
          </c:cat>
          <c:val>
            <c:numRef>
              <c:f>List1!$B$2:$DX$2</c:f>
              <c:numCache>
                <c:formatCode>General</c:formatCode>
                <c:ptCount val="127"/>
                <c:pt idx="0">
                  <c:v>21</c:v>
                </c:pt>
                <c:pt idx="1">
                  <c:v>21</c:v>
                </c:pt>
                <c:pt idx="2">
                  <c:v>22</c:v>
                </c:pt>
                <c:pt idx="3">
                  <c:v>22</c:v>
                </c:pt>
                <c:pt idx="4">
                  <c:v>21</c:v>
                </c:pt>
                <c:pt idx="5">
                  <c:v>20</c:v>
                </c:pt>
                <c:pt idx="6">
                  <c:v>21</c:v>
                </c:pt>
                <c:pt idx="7">
                  <c:v>19</c:v>
                </c:pt>
                <c:pt idx="8">
                  <c:v>18</c:v>
                </c:pt>
                <c:pt idx="9">
                  <c:v>17</c:v>
                </c:pt>
                <c:pt idx="10">
                  <c:v>18</c:v>
                </c:pt>
                <c:pt idx="11">
                  <c:v>16</c:v>
                </c:pt>
                <c:pt idx="12">
                  <c:v>16</c:v>
                </c:pt>
                <c:pt idx="13">
                  <c:v>14</c:v>
                </c:pt>
                <c:pt idx="14">
                  <c:v>13</c:v>
                </c:pt>
                <c:pt idx="15">
                  <c:v>11</c:v>
                </c:pt>
                <c:pt idx="16">
                  <c:v>10</c:v>
                </c:pt>
                <c:pt idx="17">
                  <c:v>10</c:v>
                </c:pt>
                <c:pt idx="18">
                  <c:v>9</c:v>
                </c:pt>
                <c:pt idx="19">
                  <c:v>8</c:v>
                </c:pt>
                <c:pt idx="20">
                  <c:v>6</c:v>
                </c:pt>
                <c:pt idx="21">
                  <c:v>3</c:v>
                </c:pt>
                <c:pt idx="22">
                  <c:v>3</c:v>
                </c:pt>
                <c:pt idx="23">
                  <c:v>2</c:v>
                </c:pt>
                <c:pt idx="24">
                  <c:v>-1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1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1</c:v>
                </c:pt>
                <c:pt idx="35">
                  <c:v>1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1</c:v>
                </c:pt>
                <c:pt idx="43">
                  <c:v>1</c:v>
                </c:pt>
                <c:pt idx="44">
                  <c:v>1</c:v>
                </c:pt>
                <c:pt idx="45">
                  <c:v>2</c:v>
                </c:pt>
                <c:pt idx="46">
                  <c:v>2</c:v>
                </c:pt>
                <c:pt idx="47">
                  <c:v>2</c:v>
                </c:pt>
                <c:pt idx="48">
                  <c:v>2</c:v>
                </c:pt>
                <c:pt idx="49">
                  <c:v>2</c:v>
                </c:pt>
                <c:pt idx="50">
                  <c:v>4</c:v>
                </c:pt>
                <c:pt idx="51">
                  <c:v>4</c:v>
                </c:pt>
                <c:pt idx="52">
                  <c:v>4</c:v>
                </c:pt>
                <c:pt idx="53">
                  <c:v>6</c:v>
                </c:pt>
                <c:pt idx="54">
                  <c:v>7</c:v>
                </c:pt>
                <c:pt idx="55">
                  <c:v>6</c:v>
                </c:pt>
                <c:pt idx="56">
                  <c:v>6</c:v>
                </c:pt>
                <c:pt idx="57">
                  <c:v>8</c:v>
                </c:pt>
                <c:pt idx="58">
                  <c:v>10</c:v>
                </c:pt>
                <c:pt idx="59">
                  <c:v>10</c:v>
                </c:pt>
                <c:pt idx="60">
                  <c:v>12</c:v>
                </c:pt>
                <c:pt idx="61">
                  <c:v>14</c:v>
                </c:pt>
                <c:pt idx="62">
                  <c:v>16</c:v>
                </c:pt>
                <c:pt idx="63">
                  <c:v>19</c:v>
                </c:pt>
                <c:pt idx="64">
                  <c:v>18</c:v>
                </c:pt>
                <c:pt idx="65">
                  <c:v>18</c:v>
                </c:pt>
                <c:pt idx="66">
                  <c:v>19</c:v>
                </c:pt>
                <c:pt idx="67">
                  <c:v>19</c:v>
                </c:pt>
                <c:pt idx="68">
                  <c:v>20</c:v>
                </c:pt>
                <c:pt idx="69">
                  <c:v>21</c:v>
                </c:pt>
                <c:pt idx="70">
                  <c:v>22</c:v>
                </c:pt>
                <c:pt idx="71">
                  <c:v>21</c:v>
                </c:pt>
                <c:pt idx="72">
                  <c:v>20</c:v>
                </c:pt>
                <c:pt idx="73">
                  <c:v>19</c:v>
                </c:pt>
                <c:pt idx="74">
                  <c:v>17</c:v>
                </c:pt>
                <c:pt idx="75">
                  <c:v>15</c:v>
                </c:pt>
                <c:pt idx="76">
                  <c:v>18</c:v>
                </c:pt>
                <c:pt idx="77">
                  <c:v>16</c:v>
                </c:pt>
                <c:pt idx="78">
                  <c:v>18</c:v>
                </c:pt>
                <c:pt idx="79">
                  <c:v>15</c:v>
                </c:pt>
                <c:pt idx="80">
                  <c:v>17</c:v>
                </c:pt>
                <c:pt idx="81">
                  <c:v>17</c:v>
                </c:pt>
                <c:pt idx="82">
                  <c:v>17</c:v>
                </c:pt>
                <c:pt idx="83">
                  <c:v>17</c:v>
                </c:pt>
                <c:pt idx="84">
                  <c:v>18</c:v>
                </c:pt>
                <c:pt idx="85">
                  <c:v>18</c:v>
                </c:pt>
                <c:pt idx="86">
                  <c:v>18</c:v>
                </c:pt>
                <c:pt idx="87">
                  <c:v>18</c:v>
                </c:pt>
                <c:pt idx="88">
                  <c:v>21</c:v>
                </c:pt>
                <c:pt idx="89">
                  <c:v>18</c:v>
                </c:pt>
                <c:pt idx="90">
                  <c:v>15</c:v>
                </c:pt>
                <c:pt idx="91">
                  <c:v>15</c:v>
                </c:pt>
                <c:pt idx="92">
                  <c:v>14</c:v>
                </c:pt>
                <c:pt idx="93">
                  <c:v>13</c:v>
                </c:pt>
                <c:pt idx="94">
                  <c:v>11</c:v>
                </c:pt>
                <c:pt idx="95">
                  <c:v>12</c:v>
                </c:pt>
                <c:pt idx="96">
                  <c:v>11</c:v>
                </c:pt>
                <c:pt idx="97">
                  <c:v>9</c:v>
                </c:pt>
                <c:pt idx="98">
                  <c:v>10</c:v>
                </c:pt>
                <c:pt idx="99">
                  <c:v>9</c:v>
                </c:pt>
                <c:pt idx="100">
                  <c:v>10</c:v>
                </c:pt>
                <c:pt idx="101">
                  <c:v>9</c:v>
                </c:pt>
                <c:pt idx="102">
                  <c:v>7</c:v>
                </c:pt>
                <c:pt idx="103">
                  <c:v>11</c:v>
                </c:pt>
                <c:pt idx="104">
                  <c:v>14</c:v>
                </c:pt>
                <c:pt idx="105">
                  <c:v>15</c:v>
                </c:pt>
                <c:pt idx="106">
                  <c:v>15</c:v>
                </c:pt>
                <c:pt idx="107">
                  <c:v>18</c:v>
                </c:pt>
                <c:pt idx="108">
                  <c:v>19</c:v>
                </c:pt>
                <c:pt idx="109">
                  <c:v>17</c:v>
                </c:pt>
                <c:pt idx="110">
                  <c:v>18</c:v>
                </c:pt>
                <c:pt idx="111">
                  <c:v>17</c:v>
                </c:pt>
                <c:pt idx="112">
                  <c:v>17</c:v>
                </c:pt>
                <c:pt idx="113">
                  <c:v>19</c:v>
                </c:pt>
                <c:pt idx="114">
                  <c:v>22</c:v>
                </c:pt>
                <c:pt idx="115">
                  <c:v>21</c:v>
                </c:pt>
                <c:pt idx="116">
                  <c:v>22</c:v>
                </c:pt>
                <c:pt idx="117">
                  <c:v>21</c:v>
                </c:pt>
                <c:pt idx="118">
                  <c:v>18</c:v>
                </c:pt>
                <c:pt idx="119">
                  <c:v>19</c:v>
                </c:pt>
                <c:pt idx="120">
                  <c:v>19</c:v>
                </c:pt>
                <c:pt idx="121">
                  <c:v>18</c:v>
                </c:pt>
                <c:pt idx="122">
                  <c:v>18</c:v>
                </c:pt>
                <c:pt idx="123">
                  <c:v>18</c:v>
                </c:pt>
                <c:pt idx="124">
                  <c:v>21</c:v>
                </c:pt>
                <c:pt idx="125">
                  <c:v>23</c:v>
                </c:pt>
                <c:pt idx="126">
                  <c:v>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8FD-43E4-BA1D-0B494D841FF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Sesterská povolání</c:v>
                </c:pt>
              </c:strCache>
            </c:strRef>
          </c:tx>
          <c:spPr>
            <a:ln w="28575" cap="rnd">
              <a:solidFill>
                <a:srgbClr val="ED7D31"/>
              </a:solidFill>
              <a:round/>
            </a:ln>
            <a:effectLst/>
          </c:spPr>
          <c:marker>
            <c:symbol val="none"/>
          </c:marker>
          <c:dLbls>
            <c:dLbl>
              <c:idx val="126"/>
              <c:layout>
                <c:manualLayout>
                  <c:x val="-7.4143274463573408E-8"/>
                  <c:y val="-1.2687477455896247E-2"/>
                </c:manualLayout>
              </c:layout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3995385885184117"/>
                      <c:h val="7.662385692176181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A8F9-4032-83D2-8A4706951BE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l">
                  <a:defRPr sz="1197" b="1" i="0" u="none" strike="noStrike" kern="1200" baseline="0">
                    <a:solidFill>
                      <a:srgbClr val="ED7D3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List1!$B$1:$DX$1</c:f>
              <c:strCache>
                <c:ptCount val="127"/>
                <c:pt idx="0">
                  <c:v>20.05.21</c:v>
                </c:pt>
                <c:pt idx="1">
                  <c:v>21.05.21</c:v>
                </c:pt>
                <c:pt idx="2">
                  <c:v>22.05.21</c:v>
                </c:pt>
                <c:pt idx="3">
                  <c:v>23.05.21</c:v>
                </c:pt>
                <c:pt idx="4">
                  <c:v>24.05.21</c:v>
                </c:pt>
                <c:pt idx="5">
                  <c:v>25.05.21</c:v>
                </c:pt>
                <c:pt idx="6">
                  <c:v>26.05.21</c:v>
                </c:pt>
                <c:pt idx="7">
                  <c:v>27.05.21</c:v>
                </c:pt>
                <c:pt idx="8">
                  <c:v>28.05.21</c:v>
                </c:pt>
                <c:pt idx="9">
                  <c:v>29.05.21</c:v>
                </c:pt>
                <c:pt idx="10">
                  <c:v>30.05.21</c:v>
                </c:pt>
                <c:pt idx="11">
                  <c:v>31.05.21</c:v>
                </c:pt>
                <c:pt idx="12">
                  <c:v>01.06.21</c:v>
                </c:pt>
                <c:pt idx="13">
                  <c:v>02.06.21</c:v>
                </c:pt>
                <c:pt idx="14">
                  <c:v>03.06.21</c:v>
                </c:pt>
                <c:pt idx="15">
                  <c:v>04.06.21</c:v>
                </c:pt>
                <c:pt idx="16">
                  <c:v>05.06.21</c:v>
                </c:pt>
                <c:pt idx="17">
                  <c:v>06.06.21</c:v>
                </c:pt>
                <c:pt idx="18">
                  <c:v>07.06.21</c:v>
                </c:pt>
                <c:pt idx="19">
                  <c:v>08.06.21</c:v>
                </c:pt>
                <c:pt idx="20">
                  <c:v>09.06.21</c:v>
                </c:pt>
                <c:pt idx="21">
                  <c:v>10.06.21</c:v>
                </c:pt>
                <c:pt idx="22">
                  <c:v>11.06.21</c:v>
                </c:pt>
                <c:pt idx="23">
                  <c:v>12.06.21</c:v>
                </c:pt>
                <c:pt idx="24">
                  <c:v>13.06.21</c:v>
                </c:pt>
                <c:pt idx="25">
                  <c:v>14.06.21</c:v>
                </c:pt>
                <c:pt idx="26">
                  <c:v>15.06.21</c:v>
                </c:pt>
                <c:pt idx="27">
                  <c:v>16.06.21</c:v>
                </c:pt>
                <c:pt idx="28">
                  <c:v>17.06.21</c:v>
                </c:pt>
                <c:pt idx="29">
                  <c:v>18.06.21</c:v>
                </c:pt>
                <c:pt idx="30">
                  <c:v>19.06.21</c:v>
                </c:pt>
                <c:pt idx="31">
                  <c:v>20.06.21</c:v>
                </c:pt>
                <c:pt idx="32">
                  <c:v>21.06.21</c:v>
                </c:pt>
                <c:pt idx="33">
                  <c:v>22.06.21</c:v>
                </c:pt>
                <c:pt idx="34">
                  <c:v>23.06.21</c:v>
                </c:pt>
                <c:pt idx="35">
                  <c:v>24.06.21</c:v>
                </c:pt>
                <c:pt idx="36">
                  <c:v>25.06.21</c:v>
                </c:pt>
                <c:pt idx="37">
                  <c:v>26.06.21</c:v>
                </c:pt>
                <c:pt idx="38">
                  <c:v>27.06.21</c:v>
                </c:pt>
                <c:pt idx="39">
                  <c:v>28.06.21</c:v>
                </c:pt>
                <c:pt idx="40">
                  <c:v>29.06.21</c:v>
                </c:pt>
                <c:pt idx="41">
                  <c:v>30.06.21</c:v>
                </c:pt>
                <c:pt idx="42">
                  <c:v>01.07.21</c:v>
                </c:pt>
                <c:pt idx="43">
                  <c:v>02.07.21</c:v>
                </c:pt>
                <c:pt idx="44">
                  <c:v>03.07.21</c:v>
                </c:pt>
                <c:pt idx="45">
                  <c:v>04.07.21</c:v>
                </c:pt>
                <c:pt idx="46">
                  <c:v>05.07.21</c:v>
                </c:pt>
                <c:pt idx="47">
                  <c:v>06.07.21</c:v>
                </c:pt>
                <c:pt idx="48">
                  <c:v>07.07.21</c:v>
                </c:pt>
                <c:pt idx="49">
                  <c:v>08.07.21</c:v>
                </c:pt>
                <c:pt idx="50">
                  <c:v>09.07.21</c:v>
                </c:pt>
                <c:pt idx="51">
                  <c:v>10.07.21</c:v>
                </c:pt>
                <c:pt idx="52">
                  <c:v>11.07.21</c:v>
                </c:pt>
                <c:pt idx="53">
                  <c:v>12.07.21</c:v>
                </c:pt>
                <c:pt idx="54">
                  <c:v>13.07.21</c:v>
                </c:pt>
                <c:pt idx="55">
                  <c:v>14.07.21</c:v>
                </c:pt>
                <c:pt idx="56">
                  <c:v>15.07.21</c:v>
                </c:pt>
                <c:pt idx="57">
                  <c:v>16.07.21</c:v>
                </c:pt>
                <c:pt idx="58">
                  <c:v>17.07.21</c:v>
                </c:pt>
                <c:pt idx="59">
                  <c:v>18.07.21</c:v>
                </c:pt>
                <c:pt idx="60">
                  <c:v>19.07.21</c:v>
                </c:pt>
                <c:pt idx="61">
                  <c:v>20.07.21</c:v>
                </c:pt>
                <c:pt idx="62">
                  <c:v>21.07.21</c:v>
                </c:pt>
                <c:pt idx="63">
                  <c:v>22.07.21</c:v>
                </c:pt>
                <c:pt idx="64">
                  <c:v>23.07.21</c:v>
                </c:pt>
                <c:pt idx="65">
                  <c:v>24.07.21</c:v>
                </c:pt>
                <c:pt idx="66">
                  <c:v>25.07.21</c:v>
                </c:pt>
                <c:pt idx="67">
                  <c:v>26.07.21</c:v>
                </c:pt>
                <c:pt idx="68">
                  <c:v>27.07.21</c:v>
                </c:pt>
                <c:pt idx="69">
                  <c:v>28.07.21</c:v>
                </c:pt>
                <c:pt idx="70">
                  <c:v>29.07.21</c:v>
                </c:pt>
                <c:pt idx="71">
                  <c:v>30.07.21</c:v>
                </c:pt>
                <c:pt idx="72">
                  <c:v>31.07.21</c:v>
                </c:pt>
                <c:pt idx="73">
                  <c:v>01.08.21</c:v>
                </c:pt>
                <c:pt idx="74">
                  <c:v>02.08.21</c:v>
                </c:pt>
                <c:pt idx="75">
                  <c:v>03.08.21</c:v>
                </c:pt>
                <c:pt idx="76">
                  <c:v>04.08.21</c:v>
                </c:pt>
                <c:pt idx="77">
                  <c:v>05.08.21</c:v>
                </c:pt>
                <c:pt idx="78">
                  <c:v>06.08.21</c:v>
                </c:pt>
                <c:pt idx="79">
                  <c:v>07.08.21</c:v>
                </c:pt>
                <c:pt idx="80">
                  <c:v>08.08.21</c:v>
                </c:pt>
                <c:pt idx="81">
                  <c:v>09.08.21</c:v>
                </c:pt>
                <c:pt idx="82">
                  <c:v>10.08.21</c:v>
                </c:pt>
                <c:pt idx="83">
                  <c:v>11.08.21</c:v>
                </c:pt>
                <c:pt idx="84">
                  <c:v>12.08.21</c:v>
                </c:pt>
                <c:pt idx="85">
                  <c:v>13.08.21</c:v>
                </c:pt>
                <c:pt idx="86">
                  <c:v>14.08.21</c:v>
                </c:pt>
                <c:pt idx="87">
                  <c:v>15.08.21</c:v>
                </c:pt>
                <c:pt idx="88">
                  <c:v>16.08.21</c:v>
                </c:pt>
                <c:pt idx="89">
                  <c:v>17.08.21</c:v>
                </c:pt>
                <c:pt idx="90">
                  <c:v>18.08.21</c:v>
                </c:pt>
                <c:pt idx="91">
                  <c:v>19.08.21</c:v>
                </c:pt>
                <c:pt idx="92">
                  <c:v>20.08.21</c:v>
                </c:pt>
                <c:pt idx="93">
                  <c:v>21.08.21</c:v>
                </c:pt>
                <c:pt idx="94">
                  <c:v>22.08.21</c:v>
                </c:pt>
                <c:pt idx="95">
                  <c:v>23.08.21</c:v>
                </c:pt>
                <c:pt idx="96">
                  <c:v>24.08.21</c:v>
                </c:pt>
                <c:pt idx="97">
                  <c:v>25.08.21</c:v>
                </c:pt>
                <c:pt idx="98">
                  <c:v>26.08.21</c:v>
                </c:pt>
                <c:pt idx="99">
                  <c:v>27.08.21</c:v>
                </c:pt>
                <c:pt idx="100">
                  <c:v>28.08.21</c:v>
                </c:pt>
                <c:pt idx="101">
                  <c:v>29.08.21</c:v>
                </c:pt>
                <c:pt idx="102">
                  <c:v>30.08.21</c:v>
                </c:pt>
                <c:pt idx="103">
                  <c:v>31.08.21</c:v>
                </c:pt>
                <c:pt idx="104">
                  <c:v>01.09.21</c:v>
                </c:pt>
                <c:pt idx="105">
                  <c:v>02.09.21</c:v>
                </c:pt>
                <c:pt idx="106">
                  <c:v>03.09.21</c:v>
                </c:pt>
                <c:pt idx="107">
                  <c:v>04.09.21</c:v>
                </c:pt>
                <c:pt idx="108">
                  <c:v>05.09.21</c:v>
                </c:pt>
                <c:pt idx="109">
                  <c:v>06.09.21</c:v>
                </c:pt>
                <c:pt idx="110">
                  <c:v>07.09.21</c:v>
                </c:pt>
                <c:pt idx="111">
                  <c:v>08.09.21</c:v>
                </c:pt>
                <c:pt idx="112">
                  <c:v>09.09.21</c:v>
                </c:pt>
                <c:pt idx="113">
                  <c:v>10.09.21</c:v>
                </c:pt>
                <c:pt idx="114">
                  <c:v>11.09.21</c:v>
                </c:pt>
                <c:pt idx="115">
                  <c:v>12.09.21</c:v>
                </c:pt>
                <c:pt idx="116">
                  <c:v>13.09.21</c:v>
                </c:pt>
                <c:pt idx="117">
                  <c:v>14.09.21</c:v>
                </c:pt>
                <c:pt idx="118">
                  <c:v>15.09.21</c:v>
                </c:pt>
                <c:pt idx="119">
                  <c:v>16.09.21</c:v>
                </c:pt>
                <c:pt idx="120">
                  <c:v>17.09.21</c:v>
                </c:pt>
                <c:pt idx="121">
                  <c:v>18.09.21</c:v>
                </c:pt>
                <c:pt idx="122">
                  <c:v>19.09.21</c:v>
                </c:pt>
                <c:pt idx="123">
                  <c:v>20.09.21</c:v>
                </c:pt>
                <c:pt idx="124">
                  <c:v>21.09.21</c:v>
                </c:pt>
                <c:pt idx="125">
                  <c:v>22.09.21</c:v>
                </c:pt>
                <c:pt idx="126">
                  <c:v>23.09.21</c:v>
                </c:pt>
              </c:strCache>
            </c:strRef>
          </c:cat>
          <c:val>
            <c:numRef>
              <c:f>List1!$B$3:$DX$3</c:f>
              <c:numCache>
                <c:formatCode>General</c:formatCode>
                <c:ptCount val="127"/>
                <c:pt idx="0">
                  <c:v>88</c:v>
                </c:pt>
                <c:pt idx="1">
                  <c:v>77</c:v>
                </c:pt>
                <c:pt idx="2">
                  <c:v>75</c:v>
                </c:pt>
                <c:pt idx="3">
                  <c:v>74</c:v>
                </c:pt>
                <c:pt idx="4">
                  <c:v>58</c:v>
                </c:pt>
                <c:pt idx="5">
                  <c:v>52</c:v>
                </c:pt>
                <c:pt idx="6">
                  <c:v>51</c:v>
                </c:pt>
                <c:pt idx="7">
                  <c:v>42</c:v>
                </c:pt>
                <c:pt idx="8">
                  <c:v>40</c:v>
                </c:pt>
                <c:pt idx="9">
                  <c:v>37</c:v>
                </c:pt>
                <c:pt idx="10">
                  <c:v>36</c:v>
                </c:pt>
                <c:pt idx="11">
                  <c:v>32</c:v>
                </c:pt>
                <c:pt idx="12">
                  <c:v>32</c:v>
                </c:pt>
                <c:pt idx="13">
                  <c:v>28</c:v>
                </c:pt>
                <c:pt idx="14">
                  <c:v>30</c:v>
                </c:pt>
                <c:pt idx="15">
                  <c:v>27</c:v>
                </c:pt>
                <c:pt idx="16">
                  <c:v>26</c:v>
                </c:pt>
                <c:pt idx="17">
                  <c:v>27</c:v>
                </c:pt>
                <c:pt idx="18">
                  <c:v>25</c:v>
                </c:pt>
                <c:pt idx="19">
                  <c:v>22</c:v>
                </c:pt>
                <c:pt idx="20">
                  <c:v>19</c:v>
                </c:pt>
                <c:pt idx="21">
                  <c:v>19</c:v>
                </c:pt>
                <c:pt idx="22">
                  <c:v>16</c:v>
                </c:pt>
                <c:pt idx="23">
                  <c:v>17</c:v>
                </c:pt>
                <c:pt idx="24">
                  <c:v>19</c:v>
                </c:pt>
                <c:pt idx="25">
                  <c:v>17</c:v>
                </c:pt>
                <c:pt idx="26">
                  <c:v>15</c:v>
                </c:pt>
                <c:pt idx="27">
                  <c:v>15</c:v>
                </c:pt>
                <c:pt idx="28">
                  <c:v>14</c:v>
                </c:pt>
                <c:pt idx="29">
                  <c:v>15</c:v>
                </c:pt>
                <c:pt idx="30">
                  <c:v>16</c:v>
                </c:pt>
                <c:pt idx="31">
                  <c:v>16</c:v>
                </c:pt>
                <c:pt idx="32">
                  <c:v>15</c:v>
                </c:pt>
                <c:pt idx="33">
                  <c:v>13</c:v>
                </c:pt>
                <c:pt idx="34">
                  <c:v>13</c:v>
                </c:pt>
                <c:pt idx="35">
                  <c:v>13</c:v>
                </c:pt>
                <c:pt idx="36">
                  <c:v>12</c:v>
                </c:pt>
                <c:pt idx="37">
                  <c:v>12</c:v>
                </c:pt>
                <c:pt idx="38">
                  <c:v>10</c:v>
                </c:pt>
                <c:pt idx="39">
                  <c:v>11</c:v>
                </c:pt>
                <c:pt idx="40">
                  <c:v>13</c:v>
                </c:pt>
                <c:pt idx="41">
                  <c:v>12</c:v>
                </c:pt>
                <c:pt idx="42">
                  <c:v>11</c:v>
                </c:pt>
                <c:pt idx="43">
                  <c:v>11</c:v>
                </c:pt>
                <c:pt idx="44">
                  <c:v>11</c:v>
                </c:pt>
                <c:pt idx="45">
                  <c:v>12</c:v>
                </c:pt>
                <c:pt idx="46">
                  <c:v>16</c:v>
                </c:pt>
                <c:pt idx="47">
                  <c:v>16</c:v>
                </c:pt>
                <c:pt idx="48">
                  <c:v>16</c:v>
                </c:pt>
                <c:pt idx="49">
                  <c:v>15</c:v>
                </c:pt>
                <c:pt idx="50">
                  <c:v>15</c:v>
                </c:pt>
                <c:pt idx="51">
                  <c:v>15</c:v>
                </c:pt>
                <c:pt idx="52">
                  <c:v>14</c:v>
                </c:pt>
                <c:pt idx="53">
                  <c:v>14</c:v>
                </c:pt>
                <c:pt idx="54">
                  <c:v>16</c:v>
                </c:pt>
                <c:pt idx="55">
                  <c:v>18</c:v>
                </c:pt>
                <c:pt idx="56">
                  <c:v>19</c:v>
                </c:pt>
                <c:pt idx="57">
                  <c:v>17</c:v>
                </c:pt>
                <c:pt idx="58">
                  <c:v>16</c:v>
                </c:pt>
                <c:pt idx="59">
                  <c:v>16</c:v>
                </c:pt>
                <c:pt idx="60">
                  <c:v>18</c:v>
                </c:pt>
                <c:pt idx="61">
                  <c:v>18</c:v>
                </c:pt>
                <c:pt idx="62">
                  <c:v>21</c:v>
                </c:pt>
                <c:pt idx="63">
                  <c:v>21</c:v>
                </c:pt>
                <c:pt idx="64">
                  <c:v>24</c:v>
                </c:pt>
                <c:pt idx="65">
                  <c:v>25</c:v>
                </c:pt>
                <c:pt idx="66">
                  <c:v>26</c:v>
                </c:pt>
                <c:pt idx="67">
                  <c:v>25</c:v>
                </c:pt>
                <c:pt idx="68">
                  <c:v>23</c:v>
                </c:pt>
                <c:pt idx="69">
                  <c:v>22</c:v>
                </c:pt>
                <c:pt idx="70">
                  <c:v>21</c:v>
                </c:pt>
                <c:pt idx="71">
                  <c:v>22</c:v>
                </c:pt>
                <c:pt idx="72">
                  <c:v>22</c:v>
                </c:pt>
                <c:pt idx="73">
                  <c:v>22</c:v>
                </c:pt>
                <c:pt idx="74">
                  <c:v>18</c:v>
                </c:pt>
                <c:pt idx="75">
                  <c:v>20</c:v>
                </c:pt>
                <c:pt idx="76">
                  <c:v>18</c:v>
                </c:pt>
                <c:pt idx="77">
                  <c:v>17</c:v>
                </c:pt>
                <c:pt idx="78">
                  <c:v>14</c:v>
                </c:pt>
                <c:pt idx="79">
                  <c:v>13</c:v>
                </c:pt>
                <c:pt idx="80">
                  <c:v>10</c:v>
                </c:pt>
                <c:pt idx="81">
                  <c:v>12</c:v>
                </c:pt>
                <c:pt idx="82">
                  <c:v>14</c:v>
                </c:pt>
                <c:pt idx="83">
                  <c:v>16</c:v>
                </c:pt>
                <c:pt idx="84">
                  <c:v>16</c:v>
                </c:pt>
                <c:pt idx="85">
                  <c:v>18</c:v>
                </c:pt>
                <c:pt idx="86">
                  <c:v>19</c:v>
                </c:pt>
                <c:pt idx="87">
                  <c:v>20</c:v>
                </c:pt>
                <c:pt idx="88">
                  <c:v>22</c:v>
                </c:pt>
                <c:pt idx="89">
                  <c:v>24</c:v>
                </c:pt>
                <c:pt idx="90">
                  <c:v>25</c:v>
                </c:pt>
                <c:pt idx="91">
                  <c:v>25</c:v>
                </c:pt>
                <c:pt idx="92">
                  <c:v>25</c:v>
                </c:pt>
                <c:pt idx="93">
                  <c:v>25</c:v>
                </c:pt>
                <c:pt idx="94">
                  <c:v>25</c:v>
                </c:pt>
                <c:pt idx="95">
                  <c:v>27</c:v>
                </c:pt>
                <c:pt idx="96">
                  <c:v>28</c:v>
                </c:pt>
                <c:pt idx="97">
                  <c:v>25</c:v>
                </c:pt>
                <c:pt idx="98">
                  <c:v>26</c:v>
                </c:pt>
                <c:pt idx="99">
                  <c:v>26</c:v>
                </c:pt>
                <c:pt idx="100">
                  <c:v>26</c:v>
                </c:pt>
                <c:pt idx="101">
                  <c:v>25</c:v>
                </c:pt>
                <c:pt idx="102">
                  <c:v>20</c:v>
                </c:pt>
                <c:pt idx="103">
                  <c:v>21</c:v>
                </c:pt>
                <c:pt idx="104">
                  <c:v>19</c:v>
                </c:pt>
                <c:pt idx="105">
                  <c:v>24</c:v>
                </c:pt>
                <c:pt idx="106">
                  <c:v>30</c:v>
                </c:pt>
                <c:pt idx="107">
                  <c:v>31</c:v>
                </c:pt>
                <c:pt idx="108">
                  <c:v>29</c:v>
                </c:pt>
                <c:pt idx="109">
                  <c:v>27</c:v>
                </c:pt>
                <c:pt idx="110">
                  <c:v>32</c:v>
                </c:pt>
                <c:pt idx="111">
                  <c:v>32</c:v>
                </c:pt>
                <c:pt idx="112">
                  <c:v>33</c:v>
                </c:pt>
                <c:pt idx="113">
                  <c:v>33</c:v>
                </c:pt>
                <c:pt idx="114">
                  <c:v>32</c:v>
                </c:pt>
                <c:pt idx="115">
                  <c:v>33</c:v>
                </c:pt>
                <c:pt idx="116">
                  <c:v>34</c:v>
                </c:pt>
                <c:pt idx="117">
                  <c:v>36</c:v>
                </c:pt>
                <c:pt idx="118">
                  <c:v>38</c:v>
                </c:pt>
                <c:pt idx="119">
                  <c:v>40</c:v>
                </c:pt>
                <c:pt idx="120">
                  <c:v>39</c:v>
                </c:pt>
                <c:pt idx="121">
                  <c:v>41</c:v>
                </c:pt>
                <c:pt idx="122">
                  <c:v>42</c:v>
                </c:pt>
                <c:pt idx="123">
                  <c:v>52</c:v>
                </c:pt>
                <c:pt idx="124">
                  <c:v>58</c:v>
                </c:pt>
                <c:pt idx="125">
                  <c:v>64</c:v>
                </c:pt>
                <c:pt idx="126">
                  <c:v>6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8FD-43E4-BA1D-0B494D841FF9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Ostatní zdravotničtí pracovníci</c:v>
                </c:pt>
              </c:strCache>
            </c:strRef>
          </c:tx>
          <c:spPr>
            <a:ln w="28575" cap="rnd">
              <a:solidFill>
                <a:schemeClr val="bg1">
                  <a:lumMod val="65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126"/>
              <c:layout>
                <c:manualLayout>
                  <c:x val="0"/>
                  <c:y val="-6.4994662841167436E-2"/>
                </c:manualLayout>
              </c:layout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3952641068222655"/>
                      <c:h val="0.11136856671775623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A8F9-4032-83D2-8A4706951BE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l">
                  <a:defRPr sz="1197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List1!$B$1:$DX$1</c:f>
              <c:strCache>
                <c:ptCount val="127"/>
                <c:pt idx="0">
                  <c:v>20.05.21</c:v>
                </c:pt>
                <c:pt idx="1">
                  <c:v>21.05.21</c:v>
                </c:pt>
                <c:pt idx="2">
                  <c:v>22.05.21</c:v>
                </c:pt>
                <c:pt idx="3">
                  <c:v>23.05.21</c:v>
                </c:pt>
                <c:pt idx="4">
                  <c:v>24.05.21</c:v>
                </c:pt>
                <c:pt idx="5">
                  <c:v>25.05.21</c:v>
                </c:pt>
                <c:pt idx="6">
                  <c:v>26.05.21</c:v>
                </c:pt>
                <c:pt idx="7">
                  <c:v>27.05.21</c:v>
                </c:pt>
                <c:pt idx="8">
                  <c:v>28.05.21</c:v>
                </c:pt>
                <c:pt idx="9">
                  <c:v>29.05.21</c:v>
                </c:pt>
                <c:pt idx="10">
                  <c:v>30.05.21</c:v>
                </c:pt>
                <c:pt idx="11">
                  <c:v>31.05.21</c:v>
                </c:pt>
                <c:pt idx="12">
                  <c:v>01.06.21</c:v>
                </c:pt>
                <c:pt idx="13">
                  <c:v>02.06.21</c:v>
                </c:pt>
                <c:pt idx="14">
                  <c:v>03.06.21</c:v>
                </c:pt>
                <c:pt idx="15">
                  <c:v>04.06.21</c:v>
                </c:pt>
                <c:pt idx="16">
                  <c:v>05.06.21</c:v>
                </c:pt>
                <c:pt idx="17">
                  <c:v>06.06.21</c:v>
                </c:pt>
                <c:pt idx="18">
                  <c:v>07.06.21</c:v>
                </c:pt>
                <c:pt idx="19">
                  <c:v>08.06.21</c:v>
                </c:pt>
                <c:pt idx="20">
                  <c:v>09.06.21</c:v>
                </c:pt>
                <c:pt idx="21">
                  <c:v>10.06.21</c:v>
                </c:pt>
                <c:pt idx="22">
                  <c:v>11.06.21</c:v>
                </c:pt>
                <c:pt idx="23">
                  <c:v>12.06.21</c:v>
                </c:pt>
                <c:pt idx="24">
                  <c:v>13.06.21</c:v>
                </c:pt>
                <c:pt idx="25">
                  <c:v>14.06.21</c:v>
                </c:pt>
                <c:pt idx="26">
                  <c:v>15.06.21</c:v>
                </c:pt>
                <c:pt idx="27">
                  <c:v>16.06.21</c:v>
                </c:pt>
                <c:pt idx="28">
                  <c:v>17.06.21</c:v>
                </c:pt>
                <c:pt idx="29">
                  <c:v>18.06.21</c:v>
                </c:pt>
                <c:pt idx="30">
                  <c:v>19.06.21</c:v>
                </c:pt>
                <c:pt idx="31">
                  <c:v>20.06.21</c:v>
                </c:pt>
                <c:pt idx="32">
                  <c:v>21.06.21</c:v>
                </c:pt>
                <c:pt idx="33">
                  <c:v>22.06.21</c:v>
                </c:pt>
                <c:pt idx="34">
                  <c:v>23.06.21</c:v>
                </c:pt>
                <c:pt idx="35">
                  <c:v>24.06.21</c:v>
                </c:pt>
                <c:pt idx="36">
                  <c:v>25.06.21</c:v>
                </c:pt>
                <c:pt idx="37">
                  <c:v>26.06.21</c:v>
                </c:pt>
                <c:pt idx="38">
                  <c:v>27.06.21</c:v>
                </c:pt>
                <c:pt idx="39">
                  <c:v>28.06.21</c:v>
                </c:pt>
                <c:pt idx="40">
                  <c:v>29.06.21</c:v>
                </c:pt>
                <c:pt idx="41">
                  <c:v>30.06.21</c:v>
                </c:pt>
                <c:pt idx="42">
                  <c:v>01.07.21</c:v>
                </c:pt>
                <c:pt idx="43">
                  <c:v>02.07.21</c:v>
                </c:pt>
                <c:pt idx="44">
                  <c:v>03.07.21</c:v>
                </c:pt>
                <c:pt idx="45">
                  <c:v>04.07.21</c:v>
                </c:pt>
                <c:pt idx="46">
                  <c:v>05.07.21</c:v>
                </c:pt>
                <c:pt idx="47">
                  <c:v>06.07.21</c:v>
                </c:pt>
                <c:pt idx="48">
                  <c:v>07.07.21</c:v>
                </c:pt>
                <c:pt idx="49">
                  <c:v>08.07.21</c:v>
                </c:pt>
                <c:pt idx="50">
                  <c:v>09.07.21</c:v>
                </c:pt>
                <c:pt idx="51">
                  <c:v>10.07.21</c:v>
                </c:pt>
                <c:pt idx="52">
                  <c:v>11.07.21</c:v>
                </c:pt>
                <c:pt idx="53">
                  <c:v>12.07.21</c:v>
                </c:pt>
                <c:pt idx="54">
                  <c:v>13.07.21</c:v>
                </c:pt>
                <c:pt idx="55">
                  <c:v>14.07.21</c:v>
                </c:pt>
                <c:pt idx="56">
                  <c:v>15.07.21</c:v>
                </c:pt>
                <c:pt idx="57">
                  <c:v>16.07.21</c:v>
                </c:pt>
                <c:pt idx="58">
                  <c:v>17.07.21</c:v>
                </c:pt>
                <c:pt idx="59">
                  <c:v>18.07.21</c:v>
                </c:pt>
                <c:pt idx="60">
                  <c:v>19.07.21</c:v>
                </c:pt>
                <c:pt idx="61">
                  <c:v>20.07.21</c:v>
                </c:pt>
                <c:pt idx="62">
                  <c:v>21.07.21</c:v>
                </c:pt>
                <c:pt idx="63">
                  <c:v>22.07.21</c:v>
                </c:pt>
                <c:pt idx="64">
                  <c:v>23.07.21</c:v>
                </c:pt>
                <c:pt idx="65">
                  <c:v>24.07.21</c:v>
                </c:pt>
                <c:pt idx="66">
                  <c:v>25.07.21</c:v>
                </c:pt>
                <c:pt idx="67">
                  <c:v>26.07.21</c:v>
                </c:pt>
                <c:pt idx="68">
                  <c:v>27.07.21</c:v>
                </c:pt>
                <c:pt idx="69">
                  <c:v>28.07.21</c:v>
                </c:pt>
                <c:pt idx="70">
                  <c:v>29.07.21</c:v>
                </c:pt>
                <c:pt idx="71">
                  <c:v>30.07.21</c:v>
                </c:pt>
                <c:pt idx="72">
                  <c:v>31.07.21</c:v>
                </c:pt>
                <c:pt idx="73">
                  <c:v>01.08.21</c:v>
                </c:pt>
                <c:pt idx="74">
                  <c:v>02.08.21</c:v>
                </c:pt>
                <c:pt idx="75">
                  <c:v>03.08.21</c:v>
                </c:pt>
                <c:pt idx="76">
                  <c:v>04.08.21</c:v>
                </c:pt>
                <c:pt idx="77">
                  <c:v>05.08.21</c:v>
                </c:pt>
                <c:pt idx="78">
                  <c:v>06.08.21</c:v>
                </c:pt>
                <c:pt idx="79">
                  <c:v>07.08.21</c:v>
                </c:pt>
                <c:pt idx="80">
                  <c:v>08.08.21</c:v>
                </c:pt>
                <c:pt idx="81">
                  <c:v>09.08.21</c:v>
                </c:pt>
                <c:pt idx="82">
                  <c:v>10.08.21</c:v>
                </c:pt>
                <c:pt idx="83">
                  <c:v>11.08.21</c:v>
                </c:pt>
                <c:pt idx="84">
                  <c:v>12.08.21</c:v>
                </c:pt>
                <c:pt idx="85">
                  <c:v>13.08.21</c:v>
                </c:pt>
                <c:pt idx="86">
                  <c:v>14.08.21</c:v>
                </c:pt>
                <c:pt idx="87">
                  <c:v>15.08.21</c:v>
                </c:pt>
                <c:pt idx="88">
                  <c:v>16.08.21</c:v>
                </c:pt>
                <c:pt idx="89">
                  <c:v>17.08.21</c:v>
                </c:pt>
                <c:pt idx="90">
                  <c:v>18.08.21</c:v>
                </c:pt>
                <c:pt idx="91">
                  <c:v>19.08.21</c:v>
                </c:pt>
                <c:pt idx="92">
                  <c:v>20.08.21</c:v>
                </c:pt>
                <c:pt idx="93">
                  <c:v>21.08.21</c:v>
                </c:pt>
                <c:pt idx="94">
                  <c:v>22.08.21</c:v>
                </c:pt>
                <c:pt idx="95">
                  <c:v>23.08.21</c:v>
                </c:pt>
                <c:pt idx="96">
                  <c:v>24.08.21</c:v>
                </c:pt>
                <c:pt idx="97">
                  <c:v>25.08.21</c:v>
                </c:pt>
                <c:pt idx="98">
                  <c:v>26.08.21</c:v>
                </c:pt>
                <c:pt idx="99">
                  <c:v>27.08.21</c:v>
                </c:pt>
                <c:pt idx="100">
                  <c:v>28.08.21</c:v>
                </c:pt>
                <c:pt idx="101">
                  <c:v>29.08.21</c:v>
                </c:pt>
                <c:pt idx="102">
                  <c:v>30.08.21</c:v>
                </c:pt>
                <c:pt idx="103">
                  <c:v>31.08.21</c:v>
                </c:pt>
                <c:pt idx="104">
                  <c:v>01.09.21</c:v>
                </c:pt>
                <c:pt idx="105">
                  <c:v>02.09.21</c:v>
                </c:pt>
                <c:pt idx="106">
                  <c:v>03.09.21</c:v>
                </c:pt>
                <c:pt idx="107">
                  <c:v>04.09.21</c:v>
                </c:pt>
                <c:pt idx="108">
                  <c:v>05.09.21</c:v>
                </c:pt>
                <c:pt idx="109">
                  <c:v>06.09.21</c:v>
                </c:pt>
                <c:pt idx="110">
                  <c:v>07.09.21</c:v>
                </c:pt>
                <c:pt idx="111">
                  <c:v>08.09.21</c:v>
                </c:pt>
                <c:pt idx="112">
                  <c:v>09.09.21</c:v>
                </c:pt>
                <c:pt idx="113">
                  <c:v>10.09.21</c:v>
                </c:pt>
                <c:pt idx="114">
                  <c:v>11.09.21</c:v>
                </c:pt>
                <c:pt idx="115">
                  <c:v>12.09.21</c:v>
                </c:pt>
                <c:pt idx="116">
                  <c:v>13.09.21</c:v>
                </c:pt>
                <c:pt idx="117">
                  <c:v>14.09.21</c:v>
                </c:pt>
                <c:pt idx="118">
                  <c:v>15.09.21</c:v>
                </c:pt>
                <c:pt idx="119">
                  <c:v>16.09.21</c:v>
                </c:pt>
                <c:pt idx="120">
                  <c:v>17.09.21</c:v>
                </c:pt>
                <c:pt idx="121">
                  <c:v>18.09.21</c:v>
                </c:pt>
                <c:pt idx="122">
                  <c:v>19.09.21</c:v>
                </c:pt>
                <c:pt idx="123">
                  <c:v>20.09.21</c:v>
                </c:pt>
                <c:pt idx="124">
                  <c:v>21.09.21</c:v>
                </c:pt>
                <c:pt idx="125">
                  <c:v>22.09.21</c:v>
                </c:pt>
                <c:pt idx="126">
                  <c:v>23.09.21</c:v>
                </c:pt>
              </c:strCache>
            </c:strRef>
          </c:cat>
          <c:val>
            <c:numRef>
              <c:f>List1!$B$4:$DX$4</c:f>
              <c:numCache>
                <c:formatCode>General</c:formatCode>
                <c:ptCount val="127"/>
                <c:pt idx="0">
                  <c:v>100</c:v>
                </c:pt>
                <c:pt idx="1">
                  <c:v>90</c:v>
                </c:pt>
                <c:pt idx="2">
                  <c:v>89</c:v>
                </c:pt>
                <c:pt idx="3">
                  <c:v>87</c:v>
                </c:pt>
                <c:pt idx="4">
                  <c:v>79</c:v>
                </c:pt>
                <c:pt idx="5">
                  <c:v>65</c:v>
                </c:pt>
                <c:pt idx="6">
                  <c:v>60</c:v>
                </c:pt>
                <c:pt idx="7">
                  <c:v>51</c:v>
                </c:pt>
                <c:pt idx="8">
                  <c:v>42</c:v>
                </c:pt>
                <c:pt idx="9">
                  <c:v>41</c:v>
                </c:pt>
                <c:pt idx="10">
                  <c:v>41</c:v>
                </c:pt>
                <c:pt idx="11">
                  <c:v>35</c:v>
                </c:pt>
                <c:pt idx="12">
                  <c:v>30</c:v>
                </c:pt>
                <c:pt idx="13">
                  <c:v>25</c:v>
                </c:pt>
                <c:pt idx="14">
                  <c:v>23</c:v>
                </c:pt>
                <c:pt idx="15">
                  <c:v>19</c:v>
                </c:pt>
                <c:pt idx="16">
                  <c:v>20</c:v>
                </c:pt>
                <c:pt idx="17">
                  <c:v>19</c:v>
                </c:pt>
                <c:pt idx="18">
                  <c:v>16</c:v>
                </c:pt>
                <c:pt idx="19">
                  <c:v>14</c:v>
                </c:pt>
                <c:pt idx="20">
                  <c:v>13</c:v>
                </c:pt>
                <c:pt idx="21">
                  <c:v>12</c:v>
                </c:pt>
                <c:pt idx="22">
                  <c:v>10</c:v>
                </c:pt>
                <c:pt idx="23">
                  <c:v>10</c:v>
                </c:pt>
                <c:pt idx="24">
                  <c:v>10</c:v>
                </c:pt>
                <c:pt idx="25">
                  <c:v>7</c:v>
                </c:pt>
                <c:pt idx="26">
                  <c:v>6</c:v>
                </c:pt>
                <c:pt idx="27">
                  <c:v>7</c:v>
                </c:pt>
                <c:pt idx="28">
                  <c:v>8</c:v>
                </c:pt>
                <c:pt idx="29">
                  <c:v>8</c:v>
                </c:pt>
                <c:pt idx="30">
                  <c:v>6</c:v>
                </c:pt>
                <c:pt idx="31">
                  <c:v>7</c:v>
                </c:pt>
                <c:pt idx="32">
                  <c:v>6</c:v>
                </c:pt>
                <c:pt idx="33">
                  <c:v>4</c:v>
                </c:pt>
                <c:pt idx="34">
                  <c:v>6</c:v>
                </c:pt>
                <c:pt idx="35">
                  <c:v>7</c:v>
                </c:pt>
                <c:pt idx="36">
                  <c:v>6</c:v>
                </c:pt>
                <c:pt idx="37">
                  <c:v>7</c:v>
                </c:pt>
                <c:pt idx="38">
                  <c:v>9</c:v>
                </c:pt>
                <c:pt idx="39">
                  <c:v>9</c:v>
                </c:pt>
                <c:pt idx="40">
                  <c:v>10</c:v>
                </c:pt>
                <c:pt idx="41">
                  <c:v>10</c:v>
                </c:pt>
                <c:pt idx="42">
                  <c:v>9</c:v>
                </c:pt>
                <c:pt idx="43">
                  <c:v>10</c:v>
                </c:pt>
                <c:pt idx="44">
                  <c:v>8</c:v>
                </c:pt>
                <c:pt idx="45">
                  <c:v>8</c:v>
                </c:pt>
                <c:pt idx="46">
                  <c:v>8</c:v>
                </c:pt>
                <c:pt idx="47">
                  <c:v>8</c:v>
                </c:pt>
                <c:pt idx="48">
                  <c:v>8</c:v>
                </c:pt>
                <c:pt idx="49">
                  <c:v>12</c:v>
                </c:pt>
                <c:pt idx="50">
                  <c:v>15</c:v>
                </c:pt>
                <c:pt idx="51">
                  <c:v>14</c:v>
                </c:pt>
                <c:pt idx="52">
                  <c:v>13</c:v>
                </c:pt>
                <c:pt idx="53">
                  <c:v>15</c:v>
                </c:pt>
                <c:pt idx="54">
                  <c:v>15</c:v>
                </c:pt>
                <c:pt idx="55">
                  <c:v>19</c:v>
                </c:pt>
                <c:pt idx="56">
                  <c:v>21</c:v>
                </c:pt>
                <c:pt idx="57">
                  <c:v>25</c:v>
                </c:pt>
                <c:pt idx="58">
                  <c:v>26</c:v>
                </c:pt>
                <c:pt idx="59">
                  <c:v>27</c:v>
                </c:pt>
                <c:pt idx="60">
                  <c:v>29</c:v>
                </c:pt>
                <c:pt idx="61">
                  <c:v>34</c:v>
                </c:pt>
                <c:pt idx="62">
                  <c:v>33</c:v>
                </c:pt>
                <c:pt idx="63">
                  <c:v>32</c:v>
                </c:pt>
                <c:pt idx="64">
                  <c:v>31</c:v>
                </c:pt>
                <c:pt idx="65">
                  <c:v>31</c:v>
                </c:pt>
                <c:pt idx="66">
                  <c:v>31</c:v>
                </c:pt>
                <c:pt idx="67">
                  <c:v>32</c:v>
                </c:pt>
                <c:pt idx="68">
                  <c:v>36</c:v>
                </c:pt>
                <c:pt idx="69">
                  <c:v>33</c:v>
                </c:pt>
                <c:pt idx="70">
                  <c:v>32</c:v>
                </c:pt>
                <c:pt idx="71">
                  <c:v>30</c:v>
                </c:pt>
                <c:pt idx="72">
                  <c:v>30</c:v>
                </c:pt>
                <c:pt idx="73">
                  <c:v>28</c:v>
                </c:pt>
                <c:pt idx="74">
                  <c:v>26</c:v>
                </c:pt>
                <c:pt idx="75">
                  <c:v>28</c:v>
                </c:pt>
                <c:pt idx="76">
                  <c:v>30</c:v>
                </c:pt>
                <c:pt idx="77">
                  <c:v>26</c:v>
                </c:pt>
                <c:pt idx="78">
                  <c:v>27</c:v>
                </c:pt>
                <c:pt idx="79">
                  <c:v>27</c:v>
                </c:pt>
                <c:pt idx="80">
                  <c:v>25</c:v>
                </c:pt>
                <c:pt idx="81">
                  <c:v>27</c:v>
                </c:pt>
                <c:pt idx="82">
                  <c:v>25</c:v>
                </c:pt>
                <c:pt idx="83">
                  <c:v>25</c:v>
                </c:pt>
                <c:pt idx="84">
                  <c:v>24</c:v>
                </c:pt>
                <c:pt idx="85">
                  <c:v>29</c:v>
                </c:pt>
                <c:pt idx="86">
                  <c:v>30</c:v>
                </c:pt>
                <c:pt idx="87">
                  <c:v>30</c:v>
                </c:pt>
                <c:pt idx="88">
                  <c:v>28</c:v>
                </c:pt>
                <c:pt idx="89">
                  <c:v>25</c:v>
                </c:pt>
                <c:pt idx="90">
                  <c:v>24</c:v>
                </c:pt>
                <c:pt idx="91">
                  <c:v>22</c:v>
                </c:pt>
                <c:pt idx="92">
                  <c:v>24</c:v>
                </c:pt>
                <c:pt idx="93">
                  <c:v>24</c:v>
                </c:pt>
                <c:pt idx="94">
                  <c:v>25</c:v>
                </c:pt>
                <c:pt idx="95">
                  <c:v>22</c:v>
                </c:pt>
                <c:pt idx="96">
                  <c:v>23</c:v>
                </c:pt>
                <c:pt idx="97">
                  <c:v>27</c:v>
                </c:pt>
                <c:pt idx="98">
                  <c:v>25</c:v>
                </c:pt>
                <c:pt idx="99">
                  <c:v>23</c:v>
                </c:pt>
                <c:pt idx="100">
                  <c:v>21</c:v>
                </c:pt>
                <c:pt idx="101">
                  <c:v>22</c:v>
                </c:pt>
                <c:pt idx="102">
                  <c:v>20</c:v>
                </c:pt>
                <c:pt idx="103">
                  <c:v>20</c:v>
                </c:pt>
                <c:pt idx="104">
                  <c:v>22</c:v>
                </c:pt>
                <c:pt idx="105">
                  <c:v>26</c:v>
                </c:pt>
                <c:pt idx="106">
                  <c:v>28</c:v>
                </c:pt>
                <c:pt idx="107">
                  <c:v>32</c:v>
                </c:pt>
                <c:pt idx="108">
                  <c:v>31</c:v>
                </c:pt>
                <c:pt idx="109">
                  <c:v>36</c:v>
                </c:pt>
                <c:pt idx="110">
                  <c:v>38</c:v>
                </c:pt>
                <c:pt idx="111">
                  <c:v>35</c:v>
                </c:pt>
                <c:pt idx="112">
                  <c:v>35</c:v>
                </c:pt>
                <c:pt idx="113">
                  <c:v>37</c:v>
                </c:pt>
                <c:pt idx="114">
                  <c:v>36</c:v>
                </c:pt>
                <c:pt idx="115">
                  <c:v>39</c:v>
                </c:pt>
                <c:pt idx="116">
                  <c:v>40</c:v>
                </c:pt>
                <c:pt idx="117">
                  <c:v>40</c:v>
                </c:pt>
                <c:pt idx="118">
                  <c:v>44</c:v>
                </c:pt>
                <c:pt idx="119">
                  <c:v>47</c:v>
                </c:pt>
                <c:pt idx="120">
                  <c:v>45</c:v>
                </c:pt>
                <c:pt idx="121">
                  <c:v>44</c:v>
                </c:pt>
                <c:pt idx="122">
                  <c:v>47</c:v>
                </c:pt>
                <c:pt idx="123">
                  <c:v>54</c:v>
                </c:pt>
                <c:pt idx="124">
                  <c:v>64</c:v>
                </c:pt>
                <c:pt idx="125">
                  <c:v>71</c:v>
                </c:pt>
                <c:pt idx="126">
                  <c:v>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E8FD-43E4-BA1D-0B494D841F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04314152"/>
        <c:axId val="604312192"/>
      </c:lineChart>
      <c:catAx>
        <c:axId val="6043141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2192"/>
        <c:crosses val="autoZero"/>
        <c:auto val="1"/>
        <c:lblAlgn val="ctr"/>
        <c:lblOffset val="100"/>
        <c:tickLblSkip val="7"/>
        <c:noMultiLvlLbl val="0"/>
      </c:catAx>
      <c:valAx>
        <c:axId val="604312192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41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5105486733009034"/>
          <c:y val="6.7225186576531884E-2"/>
          <c:w val="0.60212445764572553"/>
          <c:h val="0.9054811758888358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%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Plzeňský kraj</c:v>
                </c:pt>
                <c:pt idx="1">
                  <c:v>Kraj Vysočina</c:v>
                </c:pt>
                <c:pt idx="2">
                  <c:v>Liberecký kraj</c:v>
                </c:pt>
                <c:pt idx="3">
                  <c:v>Královéhradecký kraj</c:v>
                </c:pt>
                <c:pt idx="4">
                  <c:v>Hlavní město Praha</c:v>
                </c:pt>
                <c:pt idx="5">
                  <c:v>Středočeský kraj</c:v>
                </c:pt>
                <c:pt idx="6">
                  <c:v>Ústecký kraj</c:v>
                </c:pt>
                <c:pt idx="7">
                  <c:v>Pardubický kraj</c:v>
                </c:pt>
                <c:pt idx="8">
                  <c:v>Jihočeský kraj</c:v>
                </c:pt>
                <c:pt idx="9">
                  <c:v>ČR</c:v>
                </c:pt>
                <c:pt idx="10">
                  <c:v>Olomoucký kraj</c:v>
                </c:pt>
                <c:pt idx="11">
                  <c:v>Jihomoravský kraj</c:v>
                </c:pt>
                <c:pt idx="12">
                  <c:v>Karlovarský kraj</c:v>
                </c:pt>
                <c:pt idx="13">
                  <c:v>Zlínský kraj</c:v>
                </c:pt>
                <c:pt idx="14">
                  <c:v>Moravskoslez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91.247969999999995</c:v>
                </c:pt>
                <c:pt idx="1">
                  <c:v>88.377359999999996</c:v>
                </c:pt>
                <c:pt idx="2">
                  <c:v>87.797150000000002</c:v>
                </c:pt>
                <c:pt idx="3">
                  <c:v>87.594939999999994</c:v>
                </c:pt>
                <c:pt idx="4">
                  <c:v>87.588909999999998</c:v>
                </c:pt>
                <c:pt idx="5">
                  <c:v>87.459140000000005</c:v>
                </c:pt>
                <c:pt idx="6">
                  <c:v>87.229960000000005</c:v>
                </c:pt>
                <c:pt idx="7">
                  <c:v>86.859690000000001</c:v>
                </c:pt>
                <c:pt idx="8">
                  <c:v>86.784139999999994</c:v>
                </c:pt>
                <c:pt idx="9">
                  <c:v>85.915660000000003</c:v>
                </c:pt>
                <c:pt idx="10">
                  <c:v>85.442740000000001</c:v>
                </c:pt>
                <c:pt idx="11">
                  <c:v>83.635949999999994</c:v>
                </c:pt>
                <c:pt idx="12">
                  <c:v>82.535210000000006</c:v>
                </c:pt>
                <c:pt idx="13">
                  <c:v>82.166449999999998</c:v>
                </c:pt>
                <c:pt idx="14">
                  <c:v>81.58647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A38-498E-AF17-8F5778D625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83764288"/>
        <c:axId val="50879584"/>
      </c:barChart>
      <c:catAx>
        <c:axId val="383764288"/>
        <c:scaling>
          <c:orientation val="maxMin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0879584"/>
        <c:crosses val="autoZero"/>
        <c:auto val="1"/>
        <c:lblAlgn val="ctr"/>
        <c:lblOffset val="100"/>
        <c:noMultiLvlLbl val="0"/>
      </c:catAx>
      <c:valAx>
        <c:axId val="50879584"/>
        <c:scaling>
          <c:orientation val="minMax"/>
          <c:min val="0"/>
        </c:scaling>
        <c:delete val="0"/>
        <c:axPos val="t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837642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5105486733009034"/>
          <c:y val="6.7225186576531884E-2"/>
          <c:w val="0.60212445764572553"/>
          <c:h val="0.9054811758888358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%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Ústecký kraj</c:v>
                </c:pt>
                <c:pt idx="1">
                  <c:v>Kraj Vysočina</c:v>
                </c:pt>
                <c:pt idx="2">
                  <c:v>Plzeňský kraj</c:v>
                </c:pt>
                <c:pt idx="3">
                  <c:v>Hlavní město Praha</c:v>
                </c:pt>
                <c:pt idx="4">
                  <c:v>Středočeský kraj</c:v>
                </c:pt>
                <c:pt idx="5">
                  <c:v>Královéhradecký kraj</c:v>
                </c:pt>
                <c:pt idx="6">
                  <c:v>Karlovarský kraj</c:v>
                </c:pt>
                <c:pt idx="7">
                  <c:v>Jihočeský kraj</c:v>
                </c:pt>
                <c:pt idx="8">
                  <c:v>ČR</c:v>
                </c:pt>
                <c:pt idx="9">
                  <c:v>Liberecký kraj</c:v>
                </c:pt>
                <c:pt idx="10">
                  <c:v>Jihomoravský kraj</c:v>
                </c:pt>
                <c:pt idx="11">
                  <c:v>Pardubický kraj</c:v>
                </c:pt>
                <c:pt idx="12">
                  <c:v>Moravskoslezský kraj</c:v>
                </c:pt>
                <c:pt idx="13">
                  <c:v>Zlínský kraj</c:v>
                </c:pt>
                <c:pt idx="14">
                  <c:v>Olomouc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83.617980000000003</c:v>
                </c:pt>
                <c:pt idx="1">
                  <c:v>82.398449999999997</c:v>
                </c:pt>
                <c:pt idx="2">
                  <c:v>82.359459999999999</c:v>
                </c:pt>
                <c:pt idx="3">
                  <c:v>82.152299999999997</c:v>
                </c:pt>
                <c:pt idx="4">
                  <c:v>81.955950000000001</c:v>
                </c:pt>
                <c:pt idx="5">
                  <c:v>81.084460000000007</c:v>
                </c:pt>
                <c:pt idx="6">
                  <c:v>79.565510000000003</c:v>
                </c:pt>
                <c:pt idx="7">
                  <c:v>78.582639999999998</c:v>
                </c:pt>
                <c:pt idx="8">
                  <c:v>78.283820000000006</c:v>
                </c:pt>
                <c:pt idx="9">
                  <c:v>77.848550000000003</c:v>
                </c:pt>
                <c:pt idx="10">
                  <c:v>76.675849999999997</c:v>
                </c:pt>
                <c:pt idx="11">
                  <c:v>75.052930000000003</c:v>
                </c:pt>
                <c:pt idx="12">
                  <c:v>72.203310000000002</c:v>
                </c:pt>
                <c:pt idx="13">
                  <c:v>71.646159999999995</c:v>
                </c:pt>
                <c:pt idx="14">
                  <c:v>70.57594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F40-47DE-ACA1-8E4053576F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83764288"/>
        <c:axId val="50879584"/>
      </c:barChart>
      <c:catAx>
        <c:axId val="383764288"/>
        <c:scaling>
          <c:orientation val="maxMin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0879584"/>
        <c:crosses val="autoZero"/>
        <c:auto val="1"/>
        <c:lblAlgn val="ctr"/>
        <c:lblOffset val="100"/>
        <c:noMultiLvlLbl val="0"/>
      </c:catAx>
      <c:valAx>
        <c:axId val="50879584"/>
        <c:scaling>
          <c:orientation val="minMax"/>
          <c:max val="100"/>
        </c:scaling>
        <c:delete val="0"/>
        <c:axPos val="t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837642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1120061166082842"/>
          <c:y val="6.3054247171625041E-2"/>
          <c:w val="0.45963458745004687"/>
          <c:h val="0.9171773225713224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ostatní ZP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36</c:f>
              <c:strCache>
                <c:ptCount val="35"/>
                <c:pt idx="0">
                  <c:v>§ 42 Sanitář</c:v>
                </c:pt>
                <c:pt idx="1">
                  <c:v>§ 24 Fyzioterapeut</c:v>
                </c:pt>
                <c:pt idx="2">
                  <c:v>farmaceut</c:v>
                </c:pt>
                <c:pt idx="3">
                  <c:v>§ 19 Farmaceutický asistent</c:v>
                </c:pt>
                <c:pt idx="4">
                  <c:v>§ 9 Zdravotní laborant</c:v>
                </c:pt>
                <c:pt idx="5">
                  <c:v>§ 36 Ošetřovatel</c:v>
                </c:pt>
                <c:pt idx="6">
                  <c:v>§ 18 Zdravotnický záchranář</c:v>
                </c:pt>
                <c:pt idx="7">
                  <c:v>§ 39 Zubní instrumentářka</c:v>
                </c:pt>
                <c:pt idx="8">
                  <c:v>§ 8 Radiologický asistent</c:v>
                </c:pt>
                <c:pt idx="9">
                  <c:v>§ 16 Zubní technik</c:v>
                </c:pt>
                <c:pt idx="10">
                  <c:v>§ 26 Odborný pracovník v laboratorních metodách a v přípravě léčivých přípravků</c:v>
                </c:pt>
                <c:pt idx="11">
                  <c:v>§ 40 Řidič zdravotnické dopravní služby</c:v>
                </c:pt>
                <c:pt idx="12">
                  <c:v>§ 35 Řidič vozidla zdravotnické záchranné služby</c:v>
                </c:pt>
                <c:pt idx="13">
                  <c:v>§ 17 Dentální hygienistka</c:v>
                </c:pt>
                <c:pt idx="14">
                  <c:v>§ 37 Masér ve zdravotnictví, nevidomý a slabozraký masér ve zdravotnictví</c:v>
                </c:pt>
                <c:pt idx="15">
                  <c:v>§ 22 Psycholog ve zdravotnictví</c:v>
                </c:pt>
                <c:pt idx="16">
                  <c:v>§ 10 Zdravotně-sociální pracovník</c:v>
                </c:pt>
                <c:pt idx="17">
                  <c:v>§ 11 Optometrista</c:v>
                </c:pt>
                <c:pt idx="18">
                  <c:v>§ 15 Nutriční terapeut</c:v>
                </c:pt>
                <c:pt idx="19">
                  <c:v>§ 7 Ergoterapeut</c:v>
                </c:pt>
                <c:pt idx="20">
                  <c:v>§ 30 Laboratorní asistent</c:v>
                </c:pt>
                <c:pt idx="21">
                  <c:v>§ 23 Logoped ve zdravotnictví</c:v>
                </c:pt>
                <c:pt idx="22">
                  <c:v>§ 27 Biomedicínský inženýr</c:v>
                </c:pt>
                <c:pt idx="23">
                  <c:v>§ 33 Asistent zubního technika</c:v>
                </c:pt>
                <c:pt idx="24">
                  <c:v>§ 28 Odborný pracovník v ochraně a podpoře veřejného zdraví</c:v>
                </c:pt>
                <c:pt idx="25">
                  <c:v>§ 21a Adiktolog</c:v>
                </c:pt>
                <c:pt idx="26">
                  <c:v>§ 13 Asistent ochrany a podpory veřejného zdraví</c:v>
                </c:pt>
                <c:pt idx="27">
                  <c:v>§ 14 Ortotik-protetik</c:v>
                </c:pt>
                <c:pt idx="28">
                  <c:v>§ 20 Biomedicínský technik</c:v>
                </c:pt>
                <c:pt idx="29">
                  <c:v>§ 31 Ortoticko-protetický technik</c:v>
                </c:pt>
                <c:pt idx="30">
                  <c:v>§ 25 Radiologický fyzik</c:v>
                </c:pt>
                <c:pt idx="31">
                  <c:v>§ 32 Nutriční asistent</c:v>
                </c:pt>
                <c:pt idx="32">
                  <c:v>§ 12 Ortoptista</c:v>
                </c:pt>
                <c:pt idx="33">
                  <c:v>§ 21 Radiologický technik</c:v>
                </c:pt>
                <c:pt idx="34">
                  <c:v>§ 41 Autoptický laborant</c:v>
                </c:pt>
              </c:strCache>
            </c:strRef>
          </c:cat>
          <c:val>
            <c:numRef>
              <c:f>List1!$B$2:$B$36</c:f>
              <c:numCache>
                <c:formatCode>General</c:formatCode>
                <c:ptCount val="35"/>
                <c:pt idx="0">
                  <c:v>2250</c:v>
                </c:pt>
                <c:pt idx="1">
                  <c:v>903</c:v>
                </c:pt>
                <c:pt idx="2">
                  <c:v>749</c:v>
                </c:pt>
                <c:pt idx="3">
                  <c:v>641</c:v>
                </c:pt>
                <c:pt idx="4">
                  <c:v>612</c:v>
                </c:pt>
                <c:pt idx="5">
                  <c:v>510</c:v>
                </c:pt>
                <c:pt idx="6">
                  <c:v>350</c:v>
                </c:pt>
                <c:pt idx="7">
                  <c:v>338</c:v>
                </c:pt>
                <c:pt idx="8">
                  <c:v>281</c:v>
                </c:pt>
                <c:pt idx="9">
                  <c:v>252</c:v>
                </c:pt>
                <c:pt idx="10">
                  <c:v>222</c:v>
                </c:pt>
                <c:pt idx="11">
                  <c:v>221</c:v>
                </c:pt>
                <c:pt idx="12">
                  <c:v>175</c:v>
                </c:pt>
                <c:pt idx="13">
                  <c:v>124</c:v>
                </c:pt>
                <c:pt idx="14">
                  <c:v>115</c:v>
                </c:pt>
                <c:pt idx="15">
                  <c:v>108</c:v>
                </c:pt>
                <c:pt idx="16">
                  <c:v>81</c:v>
                </c:pt>
                <c:pt idx="17">
                  <c:v>81</c:v>
                </c:pt>
                <c:pt idx="18">
                  <c:v>81</c:v>
                </c:pt>
                <c:pt idx="19">
                  <c:v>68</c:v>
                </c:pt>
                <c:pt idx="20">
                  <c:v>65</c:v>
                </c:pt>
                <c:pt idx="21">
                  <c:v>50</c:v>
                </c:pt>
                <c:pt idx="22">
                  <c:v>34</c:v>
                </c:pt>
                <c:pt idx="23">
                  <c:v>21</c:v>
                </c:pt>
                <c:pt idx="24">
                  <c:v>19</c:v>
                </c:pt>
                <c:pt idx="25">
                  <c:v>16</c:v>
                </c:pt>
                <c:pt idx="26">
                  <c:v>13</c:v>
                </c:pt>
                <c:pt idx="27">
                  <c:v>12</c:v>
                </c:pt>
                <c:pt idx="28">
                  <c:v>8</c:v>
                </c:pt>
                <c:pt idx="29">
                  <c:v>7</c:v>
                </c:pt>
                <c:pt idx="30">
                  <c:v>6</c:v>
                </c:pt>
                <c:pt idx="31">
                  <c:v>5</c:v>
                </c:pt>
                <c:pt idx="32">
                  <c:v>4</c:v>
                </c:pt>
                <c:pt idx="33">
                  <c:v>1</c:v>
                </c:pt>
                <c:pt idx="3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EDC-4FEF-9A9E-83836E26FF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320460415"/>
        <c:axId val="315793487"/>
      </c:barChart>
      <c:catAx>
        <c:axId val="320460415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15793487"/>
        <c:crosses val="autoZero"/>
        <c:auto val="1"/>
        <c:lblAlgn val="ctr"/>
        <c:lblOffset val="100"/>
        <c:tickLblSkip val="1"/>
        <c:noMultiLvlLbl val="0"/>
      </c:catAx>
      <c:valAx>
        <c:axId val="315793487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20460415"/>
        <c:crosses val="autoZero"/>
        <c:crossBetween val="between"/>
        <c:majorUnit val="2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1120061166082842"/>
          <c:y val="6.3054247171625041E-2"/>
          <c:w val="0.45963458745004687"/>
          <c:h val="0.9171773225713224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ostatní ZP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21</c:f>
              <c:strCache>
                <c:ptCount val="20"/>
                <c:pt idx="0">
                  <c:v>§ 42 Sanitář</c:v>
                </c:pt>
                <c:pt idx="1">
                  <c:v>§ 24 Fyzioterapeut</c:v>
                </c:pt>
                <c:pt idx="2">
                  <c:v>§ 9 Zdravotní laborant</c:v>
                </c:pt>
                <c:pt idx="3">
                  <c:v>farmaceut</c:v>
                </c:pt>
                <c:pt idx="4">
                  <c:v>§ 17 Dentální hygienistka</c:v>
                </c:pt>
                <c:pt idx="5">
                  <c:v>§ 18 Zdravotnický záchranář</c:v>
                </c:pt>
                <c:pt idx="6">
                  <c:v>§ 19 Farmaceutický asistent</c:v>
                </c:pt>
                <c:pt idx="7">
                  <c:v>§ 22 Psycholog ve zdravotnictví</c:v>
                </c:pt>
                <c:pt idx="8">
                  <c:v>§ 23 Logoped ve zdravotnictví</c:v>
                </c:pt>
                <c:pt idx="9">
                  <c:v>§ 35 Řidič vozidla zdravotnické záchranné služby</c:v>
                </c:pt>
                <c:pt idx="10">
                  <c:v>§ 36 Ošetřovatel</c:v>
                </c:pt>
                <c:pt idx="11">
                  <c:v>§ 39 Zubní instrumentářka</c:v>
                </c:pt>
                <c:pt idx="12">
                  <c:v>§ 7 Ergoterapeut</c:v>
                </c:pt>
                <c:pt idx="13">
                  <c:v>§ 10 Zdravotně-sociální pracovník</c:v>
                </c:pt>
                <c:pt idx="14">
                  <c:v>§ 16 Zubní technik</c:v>
                </c:pt>
                <c:pt idx="15">
                  <c:v>§ 20 Biomedicínský technik</c:v>
                </c:pt>
                <c:pt idx="16">
                  <c:v>§ 26 Odborný pracovník v laboratorních metodách a v přípravě léčivých přípravků</c:v>
                </c:pt>
                <c:pt idx="17">
                  <c:v>§ 28 Odborný pracovník v ochraně a podpoře veřejného zdraví</c:v>
                </c:pt>
                <c:pt idx="18">
                  <c:v>§ 37 Masér ve zdravotnictví, nevidomý a slabozraký masér ve zdravotnictví</c:v>
                </c:pt>
                <c:pt idx="19">
                  <c:v>§ 40 Řidič zdravotnické dopravní služby</c:v>
                </c:pt>
              </c:strCache>
            </c:strRef>
          </c:cat>
          <c:val>
            <c:numRef>
              <c:f>List1!$B$2:$B$21</c:f>
              <c:numCache>
                <c:formatCode>General</c:formatCode>
                <c:ptCount val="20"/>
                <c:pt idx="0">
                  <c:v>15</c:v>
                </c:pt>
                <c:pt idx="1">
                  <c:v>11</c:v>
                </c:pt>
                <c:pt idx="2">
                  <c:v>6</c:v>
                </c:pt>
                <c:pt idx="3">
                  <c:v>5</c:v>
                </c:pt>
                <c:pt idx="4">
                  <c:v>3</c:v>
                </c:pt>
                <c:pt idx="5">
                  <c:v>3</c:v>
                </c:pt>
                <c:pt idx="6">
                  <c:v>3</c:v>
                </c:pt>
                <c:pt idx="7">
                  <c:v>3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2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EDC-4FEF-9A9E-83836E26FF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320460415"/>
        <c:axId val="315793487"/>
      </c:barChart>
      <c:catAx>
        <c:axId val="320460415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15793487"/>
        <c:crosses val="autoZero"/>
        <c:auto val="1"/>
        <c:lblAlgn val="ctr"/>
        <c:lblOffset val="100"/>
        <c:tickLblSkip val="1"/>
        <c:noMultiLvlLbl val="0"/>
      </c:catAx>
      <c:valAx>
        <c:axId val="315793487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204604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28.09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1953481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6615066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500646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500646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3448913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955331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4368077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7572051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2389165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283032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4888445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3330937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8844982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6409036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3841529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1914962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731954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6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tmp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039226"/>
            <a:ext cx="11487705" cy="5587305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11FBEFA6-3CC9-4A8B-98AB-811AE091489A}"/>
              </a:ext>
            </a:extLst>
          </p:cNvPr>
          <p:cNvSpPr/>
          <p:nvPr userDrawn="1"/>
        </p:nvSpPr>
        <p:spPr>
          <a:xfrm>
            <a:off x="1" y="1"/>
            <a:ext cx="12192000" cy="79066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20" name="Nadpis 1">
            <a:extLst>
              <a:ext uri="{FF2B5EF4-FFF2-40B4-BE49-F238E27FC236}">
                <a16:creationId xmlns:a16="http://schemas.microsoft.com/office/drawing/2014/main" id="{C2747F8C-F296-41AB-B6E6-650FFEA011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1"/>
            <a:ext cx="5396696" cy="790667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9928806D-A537-4323-B4ED-4983696D2AF8}"/>
              </a:ext>
            </a:extLst>
          </p:cNvPr>
          <p:cNvGrpSpPr/>
          <p:nvPr userDrawn="1"/>
        </p:nvGrpSpPr>
        <p:grpSpPr>
          <a:xfrm>
            <a:off x="5972087" y="107328"/>
            <a:ext cx="6026262" cy="737003"/>
            <a:chOff x="5972087" y="329946"/>
            <a:chExt cx="6026262" cy="73700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FB2B0A03-1219-4FC5-81C7-A43DCB123A0C}"/>
                </a:ext>
              </a:extLst>
            </p:cNvPr>
            <p:cNvGrpSpPr/>
            <p:nvPr userDrawn="1"/>
          </p:nvGrpSpPr>
          <p:grpSpPr>
            <a:xfrm>
              <a:off x="8116661" y="349032"/>
              <a:ext cx="3881688" cy="450808"/>
              <a:chOff x="8214317" y="349032"/>
              <a:chExt cx="3881688" cy="450808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2E921148-1008-412D-AB36-245237C3D6B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88933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28" name="Obrázek 27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480755B3-A38B-4215-974C-50EA6F66494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49032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23" name="Grafický objekt 22">
              <a:extLst>
                <a:ext uri="{FF2B5EF4-FFF2-40B4-BE49-F238E27FC236}">
                  <a16:creationId xmlns:a16="http://schemas.microsoft.com/office/drawing/2014/main" id="{1A14BE4F-72B2-49A1-B4A4-7983F7AE574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4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délník 10">
            <a:extLst>
              <a:ext uri="{FF2B5EF4-FFF2-40B4-BE49-F238E27FC236}">
                <a16:creationId xmlns:a16="http://schemas.microsoft.com/office/drawing/2014/main" id="{DC58920C-B9EC-4A94-B9EB-451592F3EED9}"/>
              </a:ext>
            </a:extLst>
          </p:cNvPr>
          <p:cNvSpPr/>
          <p:nvPr userDrawn="1"/>
        </p:nvSpPr>
        <p:spPr>
          <a:xfrm>
            <a:off x="1" y="1"/>
            <a:ext cx="12192000" cy="79066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2" name="Nadpis 1">
            <a:extLst>
              <a:ext uri="{FF2B5EF4-FFF2-40B4-BE49-F238E27FC236}">
                <a16:creationId xmlns:a16="http://schemas.microsoft.com/office/drawing/2014/main" id="{A3C58891-14E6-4818-B969-C72F93F087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1"/>
            <a:ext cx="5396696" cy="790667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4B49FBB4-BF51-45C2-86CA-B4502DA62936}"/>
              </a:ext>
            </a:extLst>
          </p:cNvPr>
          <p:cNvGrpSpPr/>
          <p:nvPr userDrawn="1"/>
        </p:nvGrpSpPr>
        <p:grpSpPr>
          <a:xfrm>
            <a:off x="5972087" y="107328"/>
            <a:ext cx="6026262" cy="737003"/>
            <a:chOff x="5972087" y="329946"/>
            <a:chExt cx="6026262" cy="737003"/>
          </a:xfrm>
        </p:grpSpPr>
        <p:grpSp>
          <p:nvGrpSpPr>
            <p:cNvPr id="14" name="Skupina 13">
              <a:extLst>
                <a:ext uri="{FF2B5EF4-FFF2-40B4-BE49-F238E27FC236}">
                  <a16:creationId xmlns:a16="http://schemas.microsoft.com/office/drawing/2014/main" id="{1533BE81-CFEE-48A9-AF03-143EC513CB79}"/>
                </a:ext>
              </a:extLst>
            </p:cNvPr>
            <p:cNvGrpSpPr/>
            <p:nvPr userDrawn="1"/>
          </p:nvGrpSpPr>
          <p:grpSpPr>
            <a:xfrm>
              <a:off x="8116661" y="349032"/>
              <a:ext cx="3881688" cy="450808"/>
              <a:chOff x="8214317" y="349032"/>
              <a:chExt cx="3881688" cy="450808"/>
            </a:xfrm>
          </p:grpSpPr>
          <p:pic>
            <p:nvPicPr>
              <p:cNvPr id="17" name="Grafický objekt 16">
                <a:extLst>
                  <a:ext uri="{FF2B5EF4-FFF2-40B4-BE49-F238E27FC236}">
                    <a16:creationId xmlns:a16="http://schemas.microsoft.com/office/drawing/2014/main" id="{2BA1D09A-64DD-4910-BF60-CC7075472A8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88933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18" name="Obrázek 17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3A04F306-61D6-499B-9F34-24714C7AFEA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49032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15" name="Grafický objekt 14">
              <a:extLst>
                <a:ext uri="{FF2B5EF4-FFF2-40B4-BE49-F238E27FC236}">
                  <a16:creationId xmlns:a16="http://schemas.microsoft.com/office/drawing/2014/main" id="{62747C58-6152-448D-9270-C4FE61C51FC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aln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délník 7">
            <a:extLst>
              <a:ext uri="{FF2B5EF4-FFF2-40B4-BE49-F238E27FC236}">
                <a16:creationId xmlns:a16="http://schemas.microsoft.com/office/drawing/2014/main" id="{57251005-B581-4C6B-9623-FE7C9E672C61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9" name="Nadpis 1">
            <a:extLst>
              <a:ext uri="{FF2B5EF4-FFF2-40B4-BE49-F238E27FC236}">
                <a16:creationId xmlns:a16="http://schemas.microsoft.com/office/drawing/2014/main" id="{2ABA8342-40EF-4EF8-878F-E756BF1AAB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EC133C2D-E49B-4A76-8E4C-79637436790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102342" y="93094"/>
            <a:ext cx="4017507" cy="504000"/>
            <a:chOff x="5972087" y="329946"/>
            <a:chExt cx="6026262" cy="737003"/>
          </a:xfrm>
        </p:grpSpPr>
        <p:grpSp>
          <p:nvGrpSpPr>
            <p:cNvPr id="12" name="Skupina 11">
              <a:extLst>
                <a:ext uri="{FF2B5EF4-FFF2-40B4-BE49-F238E27FC236}">
                  <a16:creationId xmlns:a16="http://schemas.microsoft.com/office/drawing/2014/main" id="{7B0E7EF1-130B-4AF3-9B9B-F57B675459BE}"/>
                </a:ext>
              </a:extLst>
            </p:cNvPr>
            <p:cNvGrpSpPr/>
            <p:nvPr userDrawn="1"/>
          </p:nvGrpSpPr>
          <p:grpSpPr>
            <a:xfrm>
              <a:off x="8116661" y="331276"/>
              <a:ext cx="3881688" cy="450808"/>
              <a:chOff x="8214317" y="331276"/>
              <a:chExt cx="3881688" cy="450808"/>
            </a:xfrm>
          </p:grpSpPr>
          <p:pic>
            <p:nvPicPr>
              <p:cNvPr id="14" name="Grafický objekt 13">
                <a:extLst>
                  <a:ext uri="{FF2B5EF4-FFF2-40B4-BE49-F238E27FC236}">
                    <a16:creationId xmlns:a16="http://schemas.microsoft.com/office/drawing/2014/main" id="{5A70A0E6-773C-4F6E-853C-28A61AEF1D8E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71177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15" name="Obrázek 14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7F95AEA6-4367-4B52-93A3-3068041EC41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31276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ABAFA576-D9BF-4267-9BD2-2B78AD34E65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054070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68312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0520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63" r:id="rId3"/>
    <p:sldLayoutId id="2147483661" r:id="rId4"/>
    <p:sldLayoutId id="2147483665" r:id="rId5"/>
    <p:sldLayoutId id="2147483672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Relationship Id="rId4" Type="http://schemas.openxmlformats.org/officeDocument/2006/relationships/chart" Target="../charts/char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/>
        </p:nvSpPr>
        <p:spPr>
          <a:xfrm>
            <a:off x="0" y="3900347"/>
            <a:ext cx="12192000" cy="153429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ouhrnný přehled stavu očkování: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zdravotničtí pracovníci </a:t>
            </a: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v a vývoj epidemie COVID-19 </a:t>
            </a:r>
            <a:b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11904359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037065" cy="576000"/>
          </a:xfrm>
        </p:spPr>
        <p:txBody>
          <a:bodyPr/>
          <a:lstStyle/>
          <a:p>
            <a:r>
              <a:rPr lang="cs-CZ" dirty="0"/>
              <a:t>Očkovaní zdravotníci v nemocnicích akutní lůžkové péče a ZZS</a:t>
            </a:r>
          </a:p>
        </p:txBody>
      </p:sp>
      <p:graphicFrame>
        <p:nvGraphicFramePr>
          <p:cNvPr id="9" name="Chart 6">
            <a:extLst>
              <a:ext uri="{FF2B5EF4-FFF2-40B4-BE49-F238E27FC236}">
                <a16:creationId xmlns:a16="http://schemas.microsoft.com/office/drawing/2014/main" id="{95B21923-74CC-4971-8ACF-75603B949F8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31165493"/>
              </p:ext>
            </p:extLst>
          </p:nvPr>
        </p:nvGraphicFramePr>
        <p:xfrm>
          <a:off x="10136" y="1281717"/>
          <a:ext cx="5060115" cy="51184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extBox 7">
            <a:extLst>
              <a:ext uri="{FF2B5EF4-FFF2-40B4-BE49-F238E27FC236}">
                <a16:creationId xmlns:a16="http://schemas.microsoft.com/office/drawing/2014/main" id="{859ED9E0-6A53-405A-BD02-85A115DFB578}"/>
              </a:ext>
            </a:extLst>
          </p:cNvPr>
          <p:cNvSpPr txBox="1"/>
          <p:nvPr/>
        </p:nvSpPr>
        <p:spPr>
          <a:xfrm>
            <a:off x="1653004" y="1079435"/>
            <a:ext cx="31761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b="1" dirty="0"/>
              <a:t>Podíl vakcinovaných (%)</a:t>
            </a:r>
          </a:p>
        </p:txBody>
      </p:sp>
      <p:graphicFrame>
        <p:nvGraphicFramePr>
          <p:cNvPr id="12" name="Tabulka 11">
            <a:extLst>
              <a:ext uri="{FF2B5EF4-FFF2-40B4-BE49-F238E27FC236}">
                <a16:creationId xmlns:a16="http://schemas.microsoft.com/office/drawing/2014/main" id="{8DE006A4-47CC-483A-94C2-37A91796F02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33049514"/>
              </p:ext>
            </p:extLst>
          </p:nvPr>
        </p:nvGraphicFramePr>
        <p:xfrm>
          <a:off x="5070251" y="1245141"/>
          <a:ext cx="1013589" cy="5010075"/>
        </p:xfrm>
        <a:graphic>
          <a:graphicData uri="http://schemas.openxmlformats.org/drawingml/2006/table">
            <a:tbl>
              <a:tblPr/>
              <a:tblGrid>
                <a:gridCol w="1013589">
                  <a:extLst>
                    <a:ext uri="{9D8B030D-6E8A-4147-A177-3AD203B41FA5}">
                      <a16:colId xmlns:a16="http://schemas.microsoft.com/office/drawing/2014/main" val="1754736106"/>
                    </a:ext>
                  </a:extLst>
                </a:gridCol>
              </a:tblGrid>
              <a:tr h="2972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očkova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78743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8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136238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7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8109056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0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9019969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621748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0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534323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53104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0588264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7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0276534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7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881722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 2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247165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265956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8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9396529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36740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782957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7793540"/>
                  </a:ext>
                </a:extLst>
              </a:tr>
            </a:tbl>
          </a:graphicData>
        </a:graphic>
      </p:graphicFrame>
      <p:sp>
        <p:nvSpPr>
          <p:cNvPr id="13" name="Obdélník 12">
            <a:extLst>
              <a:ext uri="{FF2B5EF4-FFF2-40B4-BE49-F238E27FC236}">
                <a16:creationId xmlns:a16="http://schemas.microsoft.com/office/drawing/2014/main" id="{A045BA81-95DE-42BA-99D6-CBB4DCCC5501}"/>
              </a:ext>
            </a:extLst>
          </p:cNvPr>
          <p:cNvSpPr/>
          <p:nvPr/>
        </p:nvSpPr>
        <p:spPr>
          <a:xfrm>
            <a:off x="172060" y="6354140"/>
            <a:ext cx="8105165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dirty="0"/>
              <a:t>Do analýzy jsou zahrnuti pouze zdravotničtí pracovníci nahlášení poskytovateli zdravotnických služeb jako aktuálně zaměstnaní.</a:t>
            </a:r>
          </a:p>
          <a:p>
            <a:r>
              <a:rPr lang="cs-CZ" sz="1100" dirty="0"/>
              <a:t>Zdroj: Národní registr zdravotnických pracovníků (NRZP), ÚZIS ČR; Informační systém infekční nemoci (ISIN) </a:t>
            </a:r>
          </a:p>
        </p:txBody>
      </p:sp>
      <p:sp>
        <p:nvSpPr>
          <p:cNvPr id="14" name="TextBox 7">
            <a:extLst>
              <a:ext uri="{FF2B5EF4-FFF2-40B4-BE49-F238E27FC236}">
                <a16:creationId xmlns:a16="http://schemas.microsoft.com/office/drawing/2014/main" id="{F1F59839-6B54-4C6A-814C-0F7D2FA4596F}"/>
              </a:ext>
            </a:extLst>
          </p:cNvPr>
          <p:cNvSpPr txBox="1"/>
          <p:nvPr/>
        </p:nvSpPr>
        <p:spPr>
          <a:xfrm>
            <a:off x="267310" y="725400"/>
            <a:ext cx="53333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Lékaři </a:t>
            </a:r>
            <a:r>
              <a:rPr lang="cs-CZ" sz="1400" dirty="0"/>
              <a:t>(včetně zubních lékařů)</a:t>
            </a:r>
            <a:endParaRPr lang="cs-CZ" dirty="0"/>
          </a:p>
        </p:txBody>
      </p:sp>
      <p:graphicFrame>
        <p:nvGraphicFramePr>
          <p:cNvPr id="15" name="Chart 6">
            <a:extLst>
              <a:ext uri="{FF2B5EF4-FFF2-40B4-BE49-F238E27FC236}">
                <a16:creationId xmlns:a16="http://schemas.microsoft.com/office/drawing/2014/main" id="{04728811-3D14-4440-A95A-65B5E4851AE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61041951"/>
              </p:ext>
            </p:extLst>
          </p:nvPr>
        </p:nvGraphicFramePr>
        <p:xfrm>
          <a:off x="6185074" y="1281717"/>
          <a:ext cx="5060115" cy="51184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6" name="TextBox 7">
            <a:extLst>
              <a:ext uri="{FF2B5EF4-FFF2-40B4-BE49-F238E27FC236}">
                <a16:creationId xmlns:a16="http://schemas.microsoft.com/office/drawing/2014/main" id="{68CBEAFC-AB11-4E0B-8467-5B7AAE3834DA}"/>
              </a:ext>
            </a:extLst>
          </p:cNvPr>
          <p:cNvSpPr txBox="1"/>
          <p:nvPr/>
        </p:nvSpPr>
        <p:spPr>
          <a:xfrm>
            <a:off x="7827942" y="1079435"/>
            <a:ext cx="31761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b="1" dirty="0"/>
              <a:t>Podíl vakcinovaných (%)</a:t>
            </a:r>
          </a:p>
        </p:txBody>
      </p:sp>
      <p:graphicFrame>
        <p:nvGraphicFramePr>
          <p:cNvPr id="17" name="Tabulka 16">
            <a:extLst>
              <a:ext uri="{FF2B5EF4-FFF2-40B4-BE49-F238E27FC236}">
                <a16:creationId xmlns:a16="http://schemas.microsoft.com/office/drawing/2014/main" id="{38E50632-3864-418D-91C6-3A9FEBF812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91721253"/>
              </p:ext>
            </p:extLst>
          </p:nvPr>
        </p:nvGraphicFramePr>
        <p:xfrm>
          <a:off x="11181969" y="1244893"/>
          <a:ext cx="950976" cy="5010075"/>
        </p:xfrm>
        <a:graphic>
          <a:graphicData uri="http://schemas.openxmlformats.org/drawingml/2006/table">
            <a:tbl>
              <a:tblPr/>
              <a:tblGrid>
                <a:gridCol w="950976">
                  <a:extLst>
                    <a:ext uri="{9D8B030D-6E8A-4147-A177-3AD203B41FA5}">
                      <a16:colId xmlns:a16="http://schemas.microsoft.com/office/drawing/2014/main" val="1754736106"/>
                    </a:ext>
                  </a:extLst>
                </a:gridCol>
              </a:tblGrid>
              <a:tr h="2972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očkova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78743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136238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8109056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7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9019969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9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621748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65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534323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53104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7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0588264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0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0276534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 2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881722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0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247165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68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265956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9396529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9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36740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782957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7793540"/>
                  </a:ext>
                </a:extLst>
              </a:tr>
            </a:tbl>
          </a:graphicData>
        </a:graphic>
      </p:graphicFrame>
      <p:sp>
        <p:nvSpPr>
          <p:cNvPr id="18" name="TextBox 7">
            <a:extLst>
              <a:ext uri="{FF2B5EF4-FFF2-40B4-BE49-F238E27FC236}">
                <a16:creationId xmlns:a16="http://schemas.microsoft.com/office/drawing/2014/main" id="{0A250D1E-21AE-452B-8E14-DA72C406298D}"/>
              </a:ext>
            </a:extLst>
          </p:cNvPr>
          <p:cNvSpPr txBox="1"/>
          <p:nvPr/>
        </p:nvSpPr>
        <p:spPr>
          <a:xfrm>
            <a:off x="6442248" y="725400"/>
            <a:ext cx="53333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Sestry*</a:t>
            </a:r>
            <a:endParaRPr lang="cs-CZ" dirty="0"/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9FD5F7F0-9879-44F5-8A51-0926E63C659F}"/>
              </a:ext>
            </a:extLst>
          </p:cNvPr>
          <p:cNvSpPr/>
          <p:nvPr/>
        </p:nvSpPr>
        <p:spPr>
          <a:xfrm>
            <a:off x="8410574" y="6354140"/>
            <a:ext cx="3429002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b="1" dirty="0"/>
              <a:t>*Sestry</a:t>
            </a:r>
            <a:r>
              <a:rPr lang="cs-CZ" sz="1100" dirty="0"/>
              <a:t> - § 5 Všeobecná sestra, § 5a Dětská sestra, § 6 Porodní asistentka, § 21b Praktická sestra</a:t>
            </a:r>
          </a:p>
        </p:txBody>
      </p:sp>
      <p:sp>
        <p:nvSpPr>
          <p:cNvPr id="20" name="TextBox 6">
            <a:extLst>
              <a:ext uri="{FF2B5EF4-FFF2-40B4-BE49-F238E27FC236}">
                <a16:creationId xmlns:a16="http://schemas.microsoft.com/office/drawing/2014/main" id="{0D1107EB-D187-4678-AF28-2A18CAE50957}"/>
              </a:ext>
            </a:extLst>
          </p:cNvPr>
          <p:cNvSpPr txBox="1"/>
          <p:nvPr/>
        </p:nvSpPr>
        <p:spPr>
          <a:xfrm>
            <a:off x="5427835" y="596549"/>
            <a:ext cx="20097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400" b="1" dirty="0"/>
              <a:t>Stav k 25. 9. 2021</a:t>
            </a:r>
          </a:p>
        </p:txBody>
      </p:sp>
    </p:spTree>
    <p:extLst>
      <p:ext uri="{BB962C8B-B14F-4D97-AF65-F5344CB8AC3E}">
        <p14:creationId xmlns:p14="http://schemas.microsoft.com/office/powerpoint/2010/main" val="43482787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ání zdravotnických pracovníků </a:t>
            </a: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552450" y="833301"/>
            <a:ext cx="11039475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zi skupinami zdravotnických pracovníků je nejnižší proočkovanost u nelékařských zdravotnických pracovníků, která dosahuje 76 %.</a:t>
            </a: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173256" y="3241554"/>
            <a:ext cx="11853702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př. profese sanitáře a fyzioterapeuta patřila mezi nejčastěji nakažené, jak dokládají reprezentativní data. Přitom jde o pracovníky s velkým počtem kontaktů ve zdravotnických zařízeních. Posílení očkování i u těchto zdravotnických profesí je potřebné. </a:t>
            </a:r>
          </a:p>
        </p:txBody>
      </p:sp>
      <p:sp>
        <p:nvSpPr>
          <p:cNvPr id="11" name="Šipka dolů 10"/>
          <p:cNvSpPr/>
          <p:nvPr/>
        </p:nvSpPr>
        <p:spPr>
          <a:xfrm>
            <a:off x="5289224" y="6024699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Šipka dolů 11"/>
          <p:cNvSpPr/>
          <p:nvPr/>
        </p:nvSpPr>
        <p:spPr>
          <a:xfrm>
            <a:off x="5289224" y="2568347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33007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Graf 17">
            <a:extLst>
              <a:ext uri="{FF2B5EF4-FFF2-40B4-BE49-F238E27FC236}">
                <a16:creationId xmlns:a16="http://schemas.microsoft.com/office/drawing/2014/main" id="{67714BB1-BEFB-4B6A-BA4B-87D00EC0BC8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51305335"/>
              </p:ext>
            </p:extLst>
          </p:nvPr>
        </p:nvGraphicFramePr>
        <p:xfrm>
          <a:off x="40511" y="729673"/>
          <a:ext cx="11855235" cy="58673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D287B611-02D0-49D2-B339-A7B816C3C828}"/>
              </a:ext>
            </a:extLst>
          </p:cNvPr>
          <p:cNvSpPr txBox="1"/>
          <p:nvPr/>
        </p:nvSpPr>
        <p:spPr>
          <a:xfrm>
            <a:off x="2162175" y="6583202"/>
            <a:ext cx="76654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stém, ISIN – Informační systém infekční nemocí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CE02CAE-4282-4A4F-990C-53954F77CB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557303" cy="576000"/>
          </a:xfrm>
        </p:spPr>
        <p:txBody>
          <a:bodyPr/>
          <a:lstStyle/>
          <a:p>
            <a:r>
              <a:rPr lang="cs-CZ" dirty="0"/>
              <a:t>Přehled povolání u COVID-19 pozitivních ostatních zdravotnických pracovníků za období 01-09 / 2021</a:t>
            </a: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FDB5357A-74B2-4F73-9151-19DFF199B935}"/>
              </a:ext>
            </a:extLst>
          </p:cNvPr>
          <p:cNvSpPr/>
          <p:nvPr/>
        </p:nvSpPr>
        <p:spPr>
          <a:xfrm>
            <a:off x="261654" y="846827"/>
            <a:ext cx="380104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ty známých pracovních pozic</a:t>
            </a: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CE819702-3927-4B90-94FB-62346EEA34F0}"/>
              </a:ext>
            </a:extLst>
          </p:cNvPr>
          <p:cNvSpPr txBox="1"/>
          <p:nvPr/>
        </p:nvSpPr>
        <p:spPr>
          <a:xfrm>
            <a:off x="9847292" y="6560118"/>
            <a:ext cx="20097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200" b="1" dirty="0"/>
              <a:t>Stav k 23. 9. 2021</a:t>
            </a:r>
          </a:p>
        </p:txBody>
      </p:sp>
    </p:spTree>
    <p:extLst>
      <p:ext uri="{BB962C8B-B14F-4D97-AF65-F5344CB8AC3E}">
        <p14:creationId xmlns:p14="http://schemas.microsoft.com/office/powerpoint/2010/main" val="111974865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Graf 17">
            <a:extLst>
              <a:ext uri="{FF2B5EF4-FFF2-40B4-BE49-F238E27FC236}">
                <a16:creationId xmlns:a16="http://schemas.microsoft.com/office/drawing/2014/main" id="{67714BB1-BEFB-4B6A-BA4B-87D00EC0BC8B}"/>
              </a:ext>
            </a:extLst>
          </p:cNvPr>
          <p:cNvGraphicFramePr/>
          <p:nvPr/>
        </p:nvGraphicFramePr>
        <p:xfrm>
          <a:off x="40511" y="729673"/>
          <a:ext cx="11855235" cy="58673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D287B611-02D0-49D2-B339-A7B816C3C828}"/>
              </a:ext>
            </a:extLst>
          </p:cNvPr>
          <p:cNvSpPr txBox="1"/>
          <p:nvPr/>
        </p:nvSpPr>
        <p:spPr>
          <a:xfrm>
            <a:off x="2162175" y="6583202"/>
            <a:ext cx="76654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stém, ISIN – Informační systém infekční nemocí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CE02CAE-4282-4A4F-990C-53954F77CB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557303" cy="576000"/>
          </a:xfrm>
        </p:spPr>
        <p:txBody>
          <a:bodyPr/>
          <a:lstStyle/>
          <a:p>
            <a:r>
              <a:rPr lang="cs-CZ" dirty="0"/>
              <a:t>Přehled povolání u COVID-19 pozitivních ostatních zdravotnických pracovníků za 09 / 2021 k 25. 9.</a:t>
            </a: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FDB5357A-74B2-4F73-9151-19DFF199B935}"/>
              </a:ext>
            </a:extLst>
          </p:cNvPr>
          <p:cNvSpPr/>
          <p:nvPr/>
        </p:nvSpPr>
        <p:spPr>
          <a:xfrm>
            <a:off x="261654" y="846827"/>
            <a:ext cx="380104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ty známých pracovních pozic</a:t>
            </a: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CE819702-3927-4B90-94FB-62346EEA34F0}"/>
              </a:ext>
            </a:extLst>
          </p:cNvPr>
          <p:cNvSpPr txBox="1"/>
          <p:nvPr/>
        </p:nvSpPr>
        <p:spPr>
          <a:xfrm>
            <a:off x="9847292" y="6560118"/>
            <a:ext cx="20097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200" b="1" dirty="0"/>
              <a:t>Stav k 25. 9. 2021</a:t>
            </a:r>
          </a:p>
        </p:txBody>
      </p:sp>
    </p:spTree>
    <p:extLst>
      <p:ext uri="{BB962C8B-B14F-4D97-AF65-F5344CB8AC3E}">
        <p14:creationId xmlns:p14="http://schemas.microsoft.com/office/powerpoint/2010/main" val="268160194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aktivní zdravotničtí pracovníci</a:t>
            </a: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42488E7D-BBBA-434F-B593-669897479465}"/>
              </a:ext>
            </a:extLst>
          </p:cNvPr>
          <p:cNvSpPr/>
          <p:nvPr/>
        </p:nvSpPr>
        <p:spPr>
          <a:xfrm>
            <a:off x="1733551" y="6556521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B5F8F24A-407C-46C2-BF8F-7094A798CF34}"/>
              </a:ext>
            </a:extLst>
          </p:cNvPr>
          <p:cNvSpPr/>
          <p:nvPr/>
        </p:nvSpPr>
        <p:spPr>
          <a:xfrm>
            <a:off x="331021" y="5689889"/>
            <a:ext cx="1145410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>
              <a:defRPr/>
            </a:pPr>
            <a:r>
              <a:rPr lang="cs-CZ" sz="1100" dirty="0">
                <a:solidFill>
                  <a:srgbClr val="000000"/>
                </a:solidFill>
              </a:rPr>
              <a:t>** Počet zdravotnických pracovníků nahlášených do NZIS (Národní registr zdravotnických pracovníků – NRZP) poskytovateli zdravotních služeb jako aktivní v období od 1.6.2021 do současnosti.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309541" y="621246"/>
            <a:ext cx="115613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V této analýze jsou zahrnuti ZP, u kterých poskytovatelé zdravotních služeb nahlásili jejich aktivní výkon zaměstnání (v ambulantním sektoru mohou být tyto počty mírně nedohlášené). </a:t>
            </a: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7A968ED8-B7A5-4B68-AF27-DAE3E4FFEDCD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600" b="1" dirty="0">
                <a:solidFill>
                  <a:srgbClr val="FFFFFF"/>
                </a:solidFill>
              </a:rPr>
              <a:t>Stav k 25. 9. 2021</a:t>
            </a:r>
          </a:p>
        </p:txBody>
      </p:sp>
      <p:graphicFrame>
        <p:nvGraphicFramePr>
          <p:cNvPr id="13" name="Tabulka 12">
            <a:extLst>
              <a:ext uri="{FF2B5EF4-FFF2-40B4-BE49-F238E27FC236}">
                <a16:creationId xmlns:a16="http://schemas.microsoft.com/office/drawing/2014/main" id="{9EBA9451-7A3F-4EF9-93DD-7094F620D3D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0910902"/>
              </p:ext>
            </p:extLst>
          </p:nvPr>
        </p:nvGraphicFramePr>
        <p:xfrm>
          <a:off x="356585" y="1390933"/>
          <a:ext cx="11273440" cy="427385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567965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  <a:gridCol w="1901825">
                  <a:extLst>
                    <a:ext uri="{9D8B030D-6E8A-4147-A177-3AD203B41FA5}">
                      <a16:colId xmlns:a16="http://schemas.microsoft.com/office/drawing/2014/main" val="3939455336"/>
                    </a:ext>
                  </a:extLst>
                </a:gridCol>
                <a:gridCol w="1901825">
                  <a:extLst>
                    <a:ext uri="{9D8B030D-6E8A-4147-A177-3AD203B41FA5}">
                      <a16:colId xmlns:a16="http://schemas.microsoft.com/office/drawing/2014/main" val="2226907532"/>
                    </a:ext>
                  </a:extLst>
                </a:gridCol>
                <a:gridCol w="1901825">
                  <a:extLst>
                    <a:ext uri="{9D8B030D-6E8A-4147-A177-3AD203B41FA5}">
                      <a16:colId xmlns:a16="http://schemas.microsoft.com/office/drawing/2014/main" val="2183727549"/>
                    </a:ext>
                  </a:extLst>
                </a:gridCol>
              </a:tblGrid>
              <a:tr h="68436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dirty="0"/>
                        <a:t>Zdravotničtí pracovníci </a:t>
                      </a:r>
                    </a:p>
                    <a:p>
                      <a:pPr algn="l" fontAlgn="ctr"/>
                      <a:r>
                        <a:rPr lang="cs-CZ" sz="1600" dirty="0"/>
                        <a:t>evidovaní v NZIS**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 dirty="0">
                          <a:effectLst/>
                        </a:rPr>
                        <a:t>Počet aktivních zdravotnických pracovníků**</a:t>
                      </a:r>
                      <a:endParaRPr lang="cs-CZ" sz="16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u="none" strike="noStrike" dirty="0">
                          <a:effectLst/>
                        </a:rPr>
                        <a:t>Počet očkovaných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u="none" strike="noStrike" dirty="0">
                          <a:effectLst/>
                        </a:rPr>
                        <a:t>Podíl očkovaných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3304470326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rmaceuti</a:t>
                      </a:r>
                    </a:p>
                    <a:p>
                      <a:pPr algn="l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farmaceut, § 19 Farmaceutický asistent)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27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67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,8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85223301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36 Ošetřovatel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94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,3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42 Sanitář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 87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52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,3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18 Zdravotnický záchranář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3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4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,2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83551337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24 Fyzioterapeut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2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49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,5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17754198"/>
                  </a:ext>
                </a:extLst>
              </a:tr>
              <a:tr h="52218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boratorní pracovníci</a:t>
                      </a:r>
                    </a:p>
                    <a:p>
                      <a:pPr algn="l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§ 8 Radiologický asistent, § 9 Zdravotní laborant, § 26 Odborný pracovník v laboratorních metodách a v přípravě léčivých přípravků, § 30 Laboratorní asistent, § 41 Autoptický laborant)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61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3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,5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30714590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statní NLZP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2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04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6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3583781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487A0AD4-2BF5-4809-8966-10C509B1F3D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37144039"/>
              </p:ext>
            </p:extLst>
          </p:nvPr>
        </p:nvGraphicFramePr>
        <p:xfrm>
          <a:off x="1943099" y="1448593"/>
          <a:ext cx="9946013" cy="4689135"/>
        </p:xfrm>
        <a:graphic>
          <a:graphicData uri="http://schemas.openxmlformats.org/drawingml/2006/table">
            <a:tbl>
              <a:tblPr/>
              <a:tblGrid>
                <a:gridCol w="1420859">
                  <a:extLst>
                    <a:ext uri="{9D8B030D-6E8A-4147-A177-3AD203B41FA5}">
                      <a16:colId xmlns:a16="http://schemas.microsoft.com/office/drawing/2014/main" val="237565486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3691285573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3478339534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2966818681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2372811176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158029597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3757445166"/>
                    </a:ext>
                  </a:extLst>
                </a:gridCol>
              </a:tblGrid>
              <a:tr h="31260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EE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EE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2C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D4D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8D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9E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C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3445152"/>
                  </a:ext>
                </a:extLst>
              </a:tr>
              <a:tr h="31260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3C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B2B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ED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F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5C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4E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0493884"/>
                  </a:ext>
                </a:extLst>
              </a:tr>
              <a:tr h="31260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6E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A4A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6B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F4F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6B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9B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4358977"/>
                  </a:ext>
                </a:extLst>
              </a:tr>
              <a:tr h="31260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DD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D1D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EE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3E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1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D2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0000431"/>
                  </a:ext>
                </a:extLst>
              </a:tr>
              <a:tr h="31260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6E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ABA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9DA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F4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AEB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2C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0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1735195"/>
                  </a:ext>
                </a:extLst>
              </a:tr>
              <a:tr h="31260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F9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FC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AC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F7F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2C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FE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F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070343"/>
                  </a:ext>
                </a:extLst>
              </a:tr>
              <a:tr h="31260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AFB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D9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B0B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F6F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D6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D3D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FB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9540391"/>
                  </a:ext>
                </a:extLst>
              </a:tr>
              <a:tr h="31260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8D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A8A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6B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F9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707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969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8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8330956"/>
                  </a:ext>
                </a:extLst>
              </a:tr>
              <a:tr h="31260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0E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777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989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9B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929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A4A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D2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3561008"/>
                  </a:ext>
                </a:extLst>
              </a:tr>
              <a:tr h="31260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FAF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ED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AC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FD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3B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A4A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2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8420728"/>
                  </a:ext>
                </a:extLst>
              </a:tr>
              <a:tr h="31260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AFB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F9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6B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EC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9C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7C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4C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63142964"/>
                  </a:ext>
                </a:extLst>
              </a:tr>
              <a:tr h="31260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F3F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F9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9D9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81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949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9FA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553975"/>
                  </a:ext>
                </a:extLst>
              </a:tr>
              <a:tr h="31260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F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838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81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7D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8B8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898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909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3399800"/>
                  </a:ext>
                </a:extLst>
              </a:tr>
              <a:tr h="31260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7C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7B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9D9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3E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80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A9A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5C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5158657"/>
                  </a:ext>
                </a:extLst>
              </a:tr>
              <a:tr h="31260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D5D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A3A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4B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9D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B2B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2C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D6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5275176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037065" cy="576000"/>
          </a:xfrm>
        </p:spPr>
        <p:txBody>
          <a:bodyPr/>
          <a:lstStyle/>
          <a:p>
            <a:r>
              <a:rPr lang="cs-CZ" dirty="0"/>
              <a:t>Očkovaní NLZP v nemocnicích akutní lůžkové péče a ZZS</a:t>
            </a:r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id="{A045BA81-95DE-42BA-99D6-CBB4DCCC5501}"/>
              </a:ext>
            </a:extLst>
          </p:cNvPr>
          <p:cNvSpPr/>
          <p:nvPr/>
        </p:nvSpPr>
        <p:spPr>
          <a:xfrm>
            <a:off x="172060" y="6401765"/>
            <a:ext cx="11753240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sz="1100" dirty="0"/>
              <a:t>Do analýzy jsou zahrnuti pouze zdravotničtí pracovníci nahlášení poskytovateli zdravotnických služeb jako aktuálně zaměstnaní.</a:t>
            </a:r>
          </a:p>
          <a:p>
            <a:pPr algn="ctr"/>
            <a:r>
              <a:rPr lang="cs-CZ" sz="1100" dirty="0"/>
              <a:t>Zdroj: Národní registr zdravotnických pracovníků (NRZP), ÚZIS ČR; Informační systém infekční nemoci (ISIN) </a:t>
            </a:r>
          </a:p>
        </p:txBody>
      </p:sp>
      <p:sp>
        <p:nvSpPr>
          <p:cNvPr id="20" name="TextBox 6">
            <a:extLst>
              <a:ext uri="{FF2B5EF4-FFF2-40B4-BE49-F238E27FC236}">
                <a16:creationId xmlns:a16="http://schemas.microsoft.com/office/drawing/2014/main" id="{0D1107EB-D187-4678-AF28-2A18CAE50957}"/>
              </a:ext>
            </a:extLst>
          </p:cNvPr>
          <p:cNvSpPr txBox="1"/>
          <p:nvPr/>
        </p:nvSpPr>
        <p:spPr>
          <a:xfrm>
            <a:off x="297313" y="614100"/>
            <a:ext cx="17335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b="1" dirty="0"/>
              <a:t>Stav k 25. 9. 2021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002BA253-3FCF-4619-85EA-CE8807BFEB8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22653634"/>
              </p:ext>
            </p:extLst>
          </p:nvPr>
        </p:nvGraphicFramePr>
        <p:xfrm>
          <a:off x="302889" y="921878"/>
          <a:ext cx="11586222" cy="5215857"/>
        </p:xfrm>
        <a:graphic>
          <a:graphicData uri="http://schemas.openxmlformats.org/drawingml/2006/table">
            <a:tbl>
              <a:tblPr/>
              <a:tblGrid>
                <a:gridCol w="1640944">
                  <a:extLst>
                    <a:ext uri="{9D8B030D-6E8A-4147-A177-3AD203B41FA5}">
                      <a16:colId xmlns:a16="http://schemas.microsoft.com/office/drawing/2014/main" val="974880782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2441195149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2349922488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1048032588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2857566558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2038756237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134387120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3794948740"/>
                    </a:ext>
                  </a:extLst>
                </a:gridCol>
              </a:tblGrid>
              <a:tr h="499992"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6522" marT="652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rmaceuti</a:t>
                      </a:r>
                    </a:p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farmaceut, § 19 Farmaceutický asistent)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36 Ošetřovatel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42 Sanitář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18 Zdravotnický záchranář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24 Fyzioterapeut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boratorní pracovníci *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NLZP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48253265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1 (82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3 (82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608 (7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5 (8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1 (8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14 (84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4 (8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79527979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 (7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 (7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74 (8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3 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0 (7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8 (8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9 (8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3261609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 (8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(7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4 (7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9 (8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 (7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3 (77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8 (8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89404468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 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1 (8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23 (8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 (82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(8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8 (8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3 (8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5881402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(8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 (75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2 (7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 (8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 (7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 (7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 (8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10782105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9 (8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8 (7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65 (8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9 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 (7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7 (8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9 (8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62802116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 (7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2 (7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0 (7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 (8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 (6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3 (8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4 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77428449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 (8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 (7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9 (7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9 (8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 (6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7 (7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5 (8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20309455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 (8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6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9 (7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 (7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 (7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8 (7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9 (8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11198027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 (8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(8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6 (8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 (8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 (7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9 (7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6 (8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83674140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2 (7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 (7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415 (7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9 (7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4 (79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41 (7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8 (7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43397029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 (85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4 (7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3 (6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 (7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 (7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7 (7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3 (7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37693671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 (70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7 (7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6 (6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 (7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7 (7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1 (7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907469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5 (7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2 (6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81 (7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8 (8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5 (69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7 (75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1 (7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710140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43 (8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319 (7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816 (7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62 (82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14 (7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717 (7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414 (8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64919212"/>
                  </a:ext>
                </a:extLst>
              </a:tr>
            </a:tbl>
          </a:graphicData>
        </a:graphic>
      </p:graphicFrame>
      <p:sp>
        <p:nvSpPr>
          <p:cNvPr id="7" name="Obdélník 6">
            <a:extLst>
              <a:ext uri="{FF2B5EF4-FFF2-40B4-BE49-F238E27FC236}">
                <a16:creationId xmlns:a16="http://schemas.microsoft.com/office/drawing/2014/main" id="{EE8DF9DD-84CF-4A37-A410-0264FC601949}"/>
              </a:ext>
            </a:extLst>
          </p:cNvPr>
          <p:cNvSpPr/>
          <p:nvPr/>
        </p:nvSpPr>
        <p:spPr>
          <a:xfrm>
            <a:off x="1476376" y="6151138"/>
            <a:ext cx="1054448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 § 8 Radiologický asistent, § 9 Zdravotní laborant, § 26 Odborný pracovník v laboratorních metodách a v přípravě léčivých přípravků, § 30 Laboratorní asistent, § 41 Autoptický laborant</a:t>
            </a:r>
            <a:endParaRPr lang="cs-CZ" sz="1000" dirty="0"/>
          </a:p>
        </p:txBody>
      </p:sp>
    </p:spTree>
    <p:extLst>
      <p:ext uri="{BB962C8B-B14F-4D97-AF65-F5344CB8AC3E}">
        <p14:creationId xmlns:p14="http://schemas.microsoft.com/office/powerpoint/2010/main" val="344294341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Tabulka 25">
            <a:extLst>
              <a:ext uri="{FF2B5EF4-FFF2-40B4-BE49-F238E27FC236}">
                <a16:creationId xmlns:a16="http://schemas.microsoft.com/office/drawing/2014/main" id="{C6836A5A-3212-4DC4-B7AB-21AFC97952C7}"/>
              </a:ext>
            </a:extLst>
          </p:cNvPr>
          <p:cNvGraphicFramePr>
            <a:graphicFrameLocks noGrp="1"/>
          </p:cNvGraphicFramePr>
          <p:nvPr/>
        </p:nvGraphicFramePr>
        <p:xfrm>
          <a:off x="2628900" y="1286668"/>
          <a:ext cx="9315450" cy="4726072"/>
        </p:xfrm>
        <a:graphic>
          <a:graphicData uri="http://schemas.openxmlformats.org/drawingml/2006/table">
            <a:tbl>
              <a:tblPr/>
              <a:tblGrid>
                <a:gridCol w="621030">
                  <a:extLst>
                    <a:ext uri="{9D8B030D-6E8A-4147-A177-3AD203B41FA5}">
                      <a16:colId xmlns:a16="http://schemas.microsoft.com/office/drawing/2014/main" val="133633546"/>
                    </a:ext>
                  </a:extLst>
                </a:gridCol>
                <a:gridCol w="621030">
                  <a:extLst>
                    <a:ext uri="{9D8B030D-6E8A-4147-A177-3AD203B41FA5}">
                      <a16:colId xmlns:a16="http://schemas.microsoft.com/office/drawing/2014/main" val="25149689"/>
                    </a:ext>
                  </a:extLst>
                </a:gridCol>
                <a:gridCol w="621030">
                  <a:extLst>
                    <a:ext uri="{9D8B030D-6E8A-4147-A177-3AD203B41FA5}">
                      <a16:colId xmlns:a16="http://schemas.microsoft.com/office/drawing/2014/main" val="1836101348"/>
                    </a:ext>
                  </a:extLst>
                </a:gridCol>
                <a:gridCol w="621030">
                  <a:extLst>
                    <a:ext uri="{9D8B030D-6E8A-4147-A177-3AD203B41FA5}">
                      <a16:colId xmlns:a16="http://schemas.microsoft.com/office/drawing/2014/main" val="3826176334"/>
                    </a:ext>
                  </a:extLst>
                </a:gridCol>
                <a:gridCol w="621030">
                  <a:extLst>
                    <a:ext uri="{9D8B030D-6E8A-4147-A177-3AD203B41FA5}">
                      <a16:colId xmlns:a16="http://schemas.microsoft.com/office/drawing/2014/main" val="4179911962"/>
                    </a:ext>
                  </a:extLst>
                </a:gridCol>
                <a:gridCol w="621030">
                  <a:extLst>
                    <a:ext uri="{9D8B030D-6E8A-4147-A177-3AD203B41FA5}">
                      <a16:colId xmlns:a16="http://schemas.microsoft.com/office/drawing/2014/main" val="1433591434"/>
                    </a:ext>
                  </a:extLst>
                </a:gridCol>
                <a:gridCol w="621030">
                  <a:extLst>
                    <a:ext uri="{9D8B030D-6E8A-4147-A177-3AD203B41FA5}">
                      <a16:colId xmlns:a16="http://schemas.microsoft.com/office/drawing/2014/main" val="3498941589"/>
                    </a:ext>
                  </a:extLst>
                </a:gridCol>
                <a:gridCol w="621030">
                  <a:extLst>
                    <a:ext uri="{9D8B030D-6E8A-4147-A177-3AD203B41FA5}">
                      <a16:colId xmlns:a16="http://schemas.microsoft.com/office/drawing/2014/main" val="12473538"/>
                    </a:ext>
                  </a:extLst>
                </a:gridCol>
                <a:gridCol w="621030">
                  <a:extLst>
                    <a:ext uri="{9D8B030D-6E8A-4147-A177-3AD203B41FA5}">
                      <a16:colId xmlns:a16="http://schemas.microsoft.com/office/drawing/2014/main" val="964901896"/>
                    </a:ext>
                  </a:extLst>
                </a:gridCol>
                <a:gridCol w="621030">
                  <a:extLst>
                    <a:ext uri="{9D8B030D-6E8A-4147-A177-3AD203B41FA5}">
                      <a16:colId xmlns:a16="http://schemas.microsoft.com/office/drawing/2014/main" val="1978665229"/>
                    </a:ext>
                  </a:extLst>
                </a:gridCol>
                <a:gridCol w="621030">
                  <a:extLst>
                    <a:ext uri="{9D8B030D-6E8A-4147-A177-3AD203B41FA5}">
                      <a16:colId xmlns:a16="http://schemas.microsoft.com/office/drawing/2014/main" val="164814954"/>
                    </a:ext>
                  </a:extLst>
                </a:gridCol>
                <a:gridCol w="621030">
                  <a:extLst>
                    <a:ext uri="{9D8B030D-6E8A-4147-A177-3AD203B41FA5}">
                      <a16:colId xmlns:a16="http://schemas.microsoft.com/office/drawing/2014/main" val="87034123"/>
                    </a:ext>
                  </a:extLst>
                </a:gridCol>
                <a:gridCol w="621030">
                  <a:extLst>
                    <a:ext uri="{9D8B030D-6E8A-4147-A177-3AD203B41FA5}">
                      <a16:colId xmlns:a16="http://schemas.microsoft.com/office/drawing/2014/main" val="3145224513"/>
                    </a:ext>
                  </a:extLst>
                </a:gridCol>
                <a:gridCol w="621030">
                  <a:extLst>
                    <a:ext uri="{9D8B030D-6E8A-4147-A177-3AD203B41FA5}">
                      <a16:colId xmlns:a16="http://schemas.microsoft.com/office/drawing/2014/main" val="3882562700"/>
                    </a:ext>
                  </a:extLst>
                </a:gridCol>
                <a:gridCol w="621030">
                  <a:extLst>
                    <a:ext uri="{9D8B030D-6E8A-4147-A177-3AD203B41FA5}">
                      <a16:colId xmlns:a16="http://schemas.microsoft.com/office/drawing/2014/main" val="115302194"/>
                    </a:ext>
                  </a:extLst>
                </a:gridCol>
              </a:tblGrid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3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3373323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8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F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6581446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17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F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3086746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B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7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A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1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77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8456951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5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0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ED4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3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8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6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9CE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1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B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7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1D9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6004533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BCF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0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2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7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4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3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3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4C3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2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718601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2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8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8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71764241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7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E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8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9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5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6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E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EE2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2816909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7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9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6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5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2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7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3552955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1697794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C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B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2090406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4980347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6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9C9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079625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284712" cy="576000"/>
          </a:xfrm>
        </p:spPr>
        <p:txBody>
          <a:bodyPr/>
          <a:lstStyle/>
          <a:p>
            <a:r>
              <a:rPr lang="cs-CZ" dirty="0"/>
              <a:t>Očkovaní lékaři* podle typu zdravotnického zařízení</a:t>
            </a:r>
          </a:p>
        </p:txBody>
      </p:sp>
      <p:sp>
        <p:nvSpPr>
          <p:cNvPr id="20" name="TextBox 6">
            <a:extLst>
              <a:ext uri="{FF2B5EF4-FFF2-40B4-BE49-F238E27FC236}">
                <a16:creationId xmlns:a16="http://schemas.microsoft.com/office/drawing/2014/main" id="{0D1107EB-D187-4678-AF28-2A18CAE50957}"/>
              </a:ext>
            </a:extLst>
          </p:cNvPr>
          <p:cNvSpPr txBox="1"/>
          <p:nvPr/>
        </p:nvSpPr>
        <p:spPr>
          <a:xfrm>
            <a:off x="10286390" y="6540606"/>
            <a:ext cx="17335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27. 9. 2021</a:t>
            </a:r>
          </a:p>
        </p:txBody>
      </p:sp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CD48C377-98E3-4540-BFE1-BA921AC0BAEE}"/>
              </a:ext>
            </a:extLst>
          </p:cNvPr>
          <p:cNvGraphicFramePr>
            <a:graphicFrameLocks noGrp="1"/>
          </p:cNvGraphicFramePr>
          <p:nvPr/>
        </p:nvGraphicFramePr>
        <p:xfrm>
          <a:off x="192538" y="770856"/>
          <a:ext cx="11751815" cy="5241880"/>
        </p:xfrm>
        <a:graphic>
          <a:graphicData uri="http://schemas.openxmlformats.org/drawingml/2006/table">
            <a:tbl>
              <a:tblPr/>
              <a:tblGrid>
                <a:gridCol w="2438405">
                  <a:extLst>
                    <a:ext uri="{9D8B030D-6E8A-4147-A177-3AD203B41FA5}">
                      <a16:colId xmlns:a16="http://schemas.microsoft.com/office/drawing/2014/main" val="652507569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477482594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2314989255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1133656534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707313385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2614584230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645035601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588882927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2171033188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922541207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416196272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1768927368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636322451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251406687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054528204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575082524"/>
                    </a:ext>
                  </a:extLst>
                </a:gridCol>
              </a:tblGrid>
              <a:tr h="3639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čkovaných alespoň jednou dávkou (podíl ze všech pracovníků daného povolání)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M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*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8974545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akutní péč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8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6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3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3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7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8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3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5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37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3397526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následné peče a jiná lůžkov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6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7148793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ychiatric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5978599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ázeňs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681261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ospělé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61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9956148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ěti a dorost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8753742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zubního léka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74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1169380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gynekolog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  <a:b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3463250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lékaře specialist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9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8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94938465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pt-B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ambulantní zařízení a laborato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87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2312617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á záchranná služb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3997440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ékár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24247117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ck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3</a:t>
                      </a:r>
                      <a:b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5943844"/>
                  </a:ext>
                </a:extLst>
              </a:tr>
            </a:tbl>
          </a:graphicData>
        </a:graphic>
      </p:graphicFrame>
      <p:sp>
        <p:nvSpPr>
          <p:cNvPr id="18" name="Obdélník 17">
            <a:extLst>
              <a:ext uri="{FF2B5EF4-FFF2-40B4-BE49-F238E27FC236}">
                <a16:creationId xmlns:a16="http://schemas.microsoft.com/office/drawing/2014/main" id="{807777C6-243E-41FA-BD00-EE19544600CE}"/>
              </a:ext>
            </a:extLst>
          </p:cNvPr>
          <p:cNvSpPr/>
          <p:nvPr/>
        </p:nvSpPr>
        <p:spPr>
          <a:xfrm>
            <a:off x="119367" y="6013803"/>
            <a:ext cx="11953265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Lékaři včetně zubních lékařů; jedna osoba může pracovat ve více krajích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analýzy jsou zahrnuti pouze zdravotničtí pracovníci nahlášení poskytovateli zdravotnických služeb jako aktuálně zaměstnaní. Výsledky mohou být ovlivněny úplností hlášení poskytovatelů zdravotních služeb do NRZP (viz příloha).</a:t>
            </a:r>
          </a:p>
        </p:txBody>
      </p:sp>
      <p:sp>
        <p:nvSpPr>
          <p:cNvPr id="21" name="Obdélník 20">
            <a:extLst>
              <a:ext uri="{FF2B5EF4-FFF2-40B4-BE49-F238E27FC236}">
                <a16:creationId xmlns:a16="http://schemas.microsoft.com/office/drawing/2014/main" id="{74028100-6752-4BD6-8757-694F3E498E25}"/>
              </a:ext>
            </a:extLst>
          </p:cNvPr>
          <p:cNvSpPr/>
          <p:nvPr/>
        </p:nvSpPr>
        <p:spPr>
          <a:xfrm>
            <a:off x="172060" y="6573215"/>
            <a:ext cx="1019114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registr zdravotnických pracovníků (NRZP), ÚZIS ČR; Informační systém infekční nemoci (ISIN) </a:t>
            </a:r>
          </a:p>
        </p:txBody>
      </p:sp>
    </p:spTree>
    <p:extLst>
      <p:ext uri="{BB962C8B-B14F-4D97-AF65-F5344CB8AC3E}">
        <p14:creationId xmlns:p14="http://schemas.microsoft.com/office/powerpoint/2010/main" val="221484929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abulka 6">
            <a:extLst>
              <a:ext uri="{FF2B5EF4-FFF2-40B4-BE49-F238E27FC236}">
                <a16:creationId xmlns:a16="http://schemas.microsoft.com/office/drawing/2014/main" id="{6D132479-D426-4811-8F81-A052F6F79EC7}"/>
              </a:ext>
            </a:extLst>
          </p:cNvPr>
          <p:cNvGraphicFramePr>
            <a:graphicFrameLocks noGrp="1"/>
          </p:cNvGraphicFramePr>
          <p:nvPr/>
        </p:nvGraphicFramePr>
        <p:xfrm>
          <a:off x="2633357" y="1286668"/>
          <a:ext cx="9310995" cy="4726072"/>
        </p:xfrm>
        <a:graphic>
          <a:graphicData uri="http://schemas.openxmlformats.org/drawingml/2006/table">
            <a:tbl>
              <a:tblPr/>
              <a:tblGrid>
                <a:gridCol w="620733">
                  <a:extLst>
                    <a:ext uri="{9D8B030D-6E8A-4147-A177-3AD203B41FA5}">
                      <a16:colId xmlns:a16="http://schemas.microsoft.com/office/drawing/2014/main" val="1500596342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844999829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669109130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570017101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761189997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845085380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1781795997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4035191391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1233055996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1473732766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93031296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1279677941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409571306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379273006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3221470155"/>
                    </a:ext>
                  </a:extLst>
                </a:gridCol>
              </a:tblGrid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B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B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4918637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6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1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2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6952177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8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3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5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7551089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DCF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87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ECF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9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5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87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6341576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D4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E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7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6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1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C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A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4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1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4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3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9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7DB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0987483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7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3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B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4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7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B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DD4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E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C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9DC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06383008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3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3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4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F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2299986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C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FCB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3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ECF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4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E6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1930653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1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1920702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3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3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6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7675544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A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9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3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3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5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4849089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6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DE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09931654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2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1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2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E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2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6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946388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284712" cy="576000"/>
          </a:xfrm>
        </p:spPr>
        <p:txBody>
          <a:bodyPr/>
          <a:lstStyle/>
          <a:p>
            <a:r>
              <a:rPr lang="cs-CZ" dirty="0"/>
              <a:t>Očkované sestry* podle typu zdravotnického zařízení</a:t>
            </a:r>
          </a:p>
        </p:txBody>
      </p:sp>
      <p:sp>
        <p:nvSpPr>
          <p:cNvPr id="20" name="TextBox 6">
            <a:extLst>
              <a:ext uri="{FF2B5EF4-FFF2-40B4-BE49-F238E27FC236}">
                <a16:creationId xmlns:a16="http://schemas.microsoft.com/office/drawing/2014/main" id="{0D1107EB-D187-4678-AF28-2A18CAE50957}"/>
              </a:ext>
            </a:extLst>
          </p:cNvPr>
          <p:cNvSpPr txBox="1"/>
          <p:nvPr/>
        </p:nvSpPr>
        <p:spPr>
          <a:xfrm>
            <a:off x="10286390" y="6540606"/>
            <a:ext cx="17335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27. 9. 2021</a:t>
            </a:r>
          </a:p>
        </p:txBody>
      </p:sp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CD48C377-98E3-4540-BFE1-BA921AC0BAEE}"/>
              </a:ext>
            </a:extLst>
          </p:cNvPr>
          <p:cNvGraphicFramePr>
            <a:graphicFrameLocks noGrp="1"/>
          </p:cNvGraphicFramePr>
          <p:nvPr/>
        </p:nvGraphicFramePr>
        <p:xfrm>
          <a:off x="192538" y="770856"/>
          <a:ext cx="11751815" cy="5241880"/>
        </p:xfrm>
        <a:graphic>
          <a:graphicData uri="http://schemas.openxmlformats.org/drawingml/2006/table">
            <a:tbl>
              <a:tblPr/>
              <a:tblGrid>
                <a:gridCol w="2438405">
                  <a:extLst>
                    <a:ext uri="{9D8B030D-6E8A-4147-A177-3AD203B41FA5}">
                      <a16:colId xmlns:a16="http://schemas.microsoft.com/office/drawing/2014/main" val="652507569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477482594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2314989255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1133656534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707313385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2614584230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645035601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588882927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2171033188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922541207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416196272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1768927368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636322451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251406687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054528204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575082524"/>
                    </a:ext>
                  </a:extLst>
                </a:gridCol>
              </a:tblGrid>
              <a:tr h="3639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čkovaných alespoň jednou dávkou (podíl ze všech pracovníků daného povolání)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M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*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8974545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akutní péč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60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49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92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1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7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7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5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3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97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0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46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9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3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67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 5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3397526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následné peče a jiná lůžkov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7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7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34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7148793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ychiatric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47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5978599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ázeňs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4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681261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ospělé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1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9956148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ěti a dorost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8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8753742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zubního léka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35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1169380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gynekolog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3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3463250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lékaře specialist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08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94938465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pt-B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ambulantní zařízení a laborato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6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6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6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6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2312617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á záchranná služb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3997440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ékár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24247117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ck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6</a:t>
                      </a:r>
                      <a:b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5943844"/>
                  </a:ext>
                </a:extLst>
              </a:tr>
            </a:tbl>
          </a:graphicData>
        </a:graphic>
      </p:graphicFrame>
      <p:sp>
        <p:nvSpPr>
          <p:cNvPr id="18" name="Obdélník 17">
            <a:extLst>
              <a:ext uri="{FF2B5EF4-FFF2-40B4-BE49-F238E27FC236}">
                <a16:creationId xmlns:a16="http://schemas.microsoft.com/office/drawing/2014/main" id="{807777C6-243E-41FA-BD00-EE19544600CE}"/>
              </a:ext>
            </a:extLst>
          </p:cNvPr>
          <p:cNvSpPr/>
          <p:nvPr/>
        </p:nvSpPr>
        <p:spPr>
          <a:xfrm>
            <a:off x="119367" y="6013803"/>
            <a:ext cx="11953265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§ 5 Všeobecná sestra, § 5a Dětská sestra, § 6 Porodní asistentka, § 21b Praktická sestra; jedna osoba může pracovat ve více krajích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analýzy jsou zahrnuti pouze zdravotničtí pracovníci nahlášení poskytovateli zdravotnických služeb jako aktuálně zaměstnaní. Výsledky mohou být ovlivněny úplností hlášení poskytovatelů zdravotních služeb do NRZP (viz příloha).</a:t>
            </a:r>
          </a:p>
        </p:txBody>
      </p:sp>
      <p:sp>
        <p:nvSpPr>
          <p:cNvPr id="21" name="Obdélník 20">
            <a:extLst>
              <a:ext uri="{FF2B5EF4-FFF2-40B4-BE49-F238E27FC236}">
                <a16:creationId xmlns:a16="http://schemas.microsoft.com/office/drawing/2014/main" id="{74028100-6752-4BD6-8757-694F3E498E25}"/>
              </a:ext>
            </a:extLst>
          </p:cNvPr>
          <p:cNvSpPr/>
          <p:nvPr/>
        </p:nvSpPr>
        <p:spPr>
          <a:xfrm>
            <a:off x="172060" y="6573215"/>
            <a:ext cx="1019114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registr zdravotnických pracovníků (NRZP), ÚZIS ČR; Informační systém infekční nemoci (ISIN) </a:t>
            </a:r>
          </a:p>
        </p:txBody>
      </p:sp>
    </p:spTree>
    <p:extLst>
      <p:ext uri="{BB962C8B-B14F-4D97-AF65-F5344CB8AC3E}">
        <p14:creationId xmlns:p14="http://schemas.microsoft.com/office/powerpoint/2010/main" val="348709238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4922D509-7032-4C02-9A55-332927038473}"/>
              </a:ext>
            </a:extLst>
          </p:cNvPr>
          <p:cNvGraphicFramePr>
            <a:graphicFrameLocks noGrp="1"/>
          </p:cNvGraphicFramePr>
          <p:nvPr/>
        </p:nvGraphicFramePr>
        <p:xfrm>
          <a:off x="2633357" y="1286668"/>
          <a:ext cx="9310995" cy="4726072"/>
        </p:xfrm>
        <a:graphic>
          <a:graphicData uri="http://schemas.openxmlformats.org/drawingml/2006/table">
            <a:tbl>
              <a:tblPr/>
              <a:tblGrid>
                <a:gridCol w="620733">
                  <a:extLst>
                    <a:ext uri="{9D8B030D-6E8A-4147-A177-3AD203B41FA5}">
                      <a16:colId xmlns:a16="http://schemas.microsoft.com/office/drawing/2014/main" val="3451485322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2742228379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3214983406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359490568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1018241517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3206650451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4093161984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1878599858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4052312288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3775704775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4146490072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2355131819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1787449471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3619749881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2416046731"/>
                    </a:ext>
                  </a:extLst>
                </a:gridCol>
              </a:tblGrid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7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3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E7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4144908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7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5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5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8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D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7495745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0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2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1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E6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6588462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A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3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3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A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3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1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8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4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A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97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5843941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8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0D0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3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2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6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7C9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9CE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1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6DB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7512363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0D0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3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C7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EE2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8632731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3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0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1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5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3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B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8099682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6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C7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3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A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8E5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7800525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8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0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7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2837701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9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3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1782455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5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ED4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5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3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B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3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B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8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A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8800209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822525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7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7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5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A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E8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4240159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284712" cy="576000"/>
          </a:xfrm>
        </p:spPr>
        <p:txBody>
          <a:bodyPr/>
          <a:lstStyle/>
          <a:p>
            <a:r>
              <a:rPr lang="cs-CZ" dirty="0"/>
              <a:t>Očkovaní ostatní ZP* podle typu zdravotnického zařízení</a:t>
            </a:r>
          </a:p>
        </p:txBody>
      </p:sp>
      <p:sp>
        <p:nvSpPr>
          <p:cNvPr id="20" name="TextBox 6">
            <a:extLst>
              <a:ext uri="{FF2B5EF4-FFF2-40B4-BE49-F238E27FC236}">
                <a16:creationId xmlns:a16="http://schemas.microsoft.com/office/drawing/2014/main" id="{0D1107EB-D187-4678-AF28-2A18CAE50957}"/>
              </a:ext>
            </a:extLst>
          </p:cNvPr>
          <p:cNvSpPr txBox="1"/>
          <p:nvPr/>
        </p:nvSpPr>
        <p:spPr>
          <a:xfrm>
            <a:off x="10286390" y="6540606"/>
            <a:ext cx="17335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27. 9. 2021</a:t>
            </a:r>
          </a:p>
        </p:txBody>
      </p:sp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CD48C377-98E3-4540-BFE1-BA921AC0BAEE}"/>
              </a:ext>
            </a:extLst>
          </p:cNvPr>
          <p:cNvGraphicFramePr>
            <a:graphicFrameLocks noGrp="1"/>
          </p:cNvGraphicFramePr>
          <p:nvPr/>
        </p:nvGraphicFramePr>
        <p:xfrm>
          <a:off x="192538" y="770856"/>
          <a:ext cx="11751815" cy="5241880"/>
        </p:xfrm>
        <a:graphic>
          <a:graphicData uri="http://schemas.openxmlformats.org/drawingml/2006/table">
            <a:tbl>
              <a:tblPr/>
              <a:tblGrid>
                <a:gridCol w="2438405">
                  <a:extLst>
                    <a:ext uri="{9D8B030D-6E8A-4147-A177-3AD203B41FA5}">
                      <a16:colId xmlns:a16="http://schemas.microsoft.com/office/drawing/2014/main" val="652507569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477482594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2314989255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1133656534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707313385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2614584230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645035601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588882927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2171033188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922541207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416196272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1768927368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636322451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251406687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054528204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575082524"/>
                    </a:ext>
                  </a:extLst>
                </a:gridCol>
              </a:tblGrid>
              <a:tr h="3639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čkovaných alespoň jednou dávkou (podíl ze všech pracovníků daného povolání)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M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*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8974545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akutní péč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34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5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7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9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3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6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5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7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79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60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3397526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následné peče a jiná lůžkov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4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5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7148793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ychiatric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97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5978599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ázeňs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4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7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681261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ospělé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9956148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ěti a dorost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8753742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zubního léka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4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1169380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gynekolog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3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3463250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lékaře specialist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4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1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94938465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pt-B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ambulantní zařízení a laborato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5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97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2312617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á záchranná služb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37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3997440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ékár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8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6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99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24247117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ck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46</a:t>
                      </a:r>
                      <a:b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5943844"/>
                  </a:ext>
                </a:extLst>
              </a:tr>
            </a:tbl>
          </a:graphicData>
        </a:graphic>
      </p:graphicFrame>
      <p:sp>
        <p:nvSpPr>
          <p:cNvPr id="18" name="Obdélník 17">
            <a:extLst>
              <a:ext uri="{FF2B5EF4-FFF2-40B4-BE49-F238E27FC236}">
                <a16:creationId xmlns:a16="http://schemas.microsoft.com/office/drawing/2014/main" id="{807777C6-243E-41FA-BD00-EE19544600CE}"/>
              </a:ext>
            </a:extLst>
          </p:cNvPr>
          <p:cNvSpPr/>
          <p:nvPr/>
        </p:nvSpPr>
        <p:spPr>
          <a:xfrm>
            <a:off x="119367" y="6013803"/>
            <a:ext cx="11953265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NLZP § 7 až § 42 kromě § 21b, farmaceuti; jedna osoba může pracovat ve více krajích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analýzy jsou zahrnuti pouze zdravotničtí pracovníci nahlášení poskytovateli zdravotnických služeb jako aktuálně zaměstnaní. Výsledky mohou být ovlivněny úplností hlášení poskytovatelů zdravotních služeb do NRZP (viz příloha).</a:t>
            </a:r>
          </a:p>
        </p:txBody>
      </p:sp>
      <p:sp>
        <p:nvSpPr>
          <p:cNvPr id="21" name="Obdélník 20">
            <a:extLst>
              <a:ext uri="{FF2B5EF4-FFF2-40B4-BE49-F238E27FC236}">
                <a16:creationId xmlns:a16="http://schemas.microsoft.com/office/drawing/2014/main" id="{74028100-6752-4BD6-8757-694F3E498E25}"/>
              </a:ext>
            </a:extLst>
          </p:cNvPr>
          <p:cNvSpPr/>
          <p:nvPr/>
        </p:nvSpPr>
        <p:spPr>
          <a:xfrm>
            <a:off x="172060" y="6573215"/>
            <a:ext cx="1019114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registr zdravotnických pracovníků (NRZP), ÚZIS ČR; Informační systém infekční nemoci (ISIN) </a:t>
            </a:r>
          </a:p>
        </p:txBody>
      </p:sp>
    </p:spTree>
    <p:extLst>
      <p:ext uri="{BB962C8B-B14F-4D97-AF65-F5344CB8AC3E}">
        <p14:creationId xmlns:p14="http://schemas.microsoft.com/office/powerpoint/2010/main" val="280527864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ání zdravotnických pracovníků </a:t>
            </a: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436755" y="680206"/>
            <a:ext cx="11189401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očkovanost</a:t>
            </a: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v profesních kategoriích zdravotnických pracovníků dosahuje populačně viditelné úrovně </a:t>
            </a:r>
          </a:p>
        </p:txBody>
      </p:sp>
      <p:sp>
        <p:nvSpPr>
          <p:cNvPr id="4" name="Šipka dolů 3"/>
          <p:cNvSpPr/>
          <p:nvPr/>
        </p:nvSpPr>
        <p:spPr>
          <a:xfrm>
            <a:off x="5449172" y="1762929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" name="Obdélník 24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704850" y="2629447"/>
            <a:ext cx="1109662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 aktuálně aktivně působících zdravotnických pracovníků má alespoň 1. dávku vakcinace 86 % lékařů, 78 % sesterských povolání a 76 % ostatních zdravotnických povolání. </a:t>
            </a:r>
          </a:p>
        </p:txBody>
      </p:sp>
      <p:sp>
        <p:nvSpPr>
          <p:cNvPr id="9" name="Šipka dolů 8"/>
          <p:cNvSpPr/>
          <p:nvPr/>
        </p:nvSpPr>
        <p:spPr>
          <a:xfrm>
            <a:off x="5449172" y="4022149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436754" y="4697632"/>
            <a:ext cx="11189401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čkování v těchto profesních kategoriích podstatně snížilo denní počet registrovaných nových nákaz  </a:t>
            </a:r>
          </a:p>
        </p:txBody>
      </p:sp>
      <p:sp>
        <p:nvSpPr>
          <p:cNvPr id="11" name="Šipka dolů 10"/>
          <p:cNvSpPr/>
          <p:nvPr/>
        </p:nvSpPr>
        <p:spPr>
          <a:xfrm>
            <a:off x="5449172" y="5935253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823333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zdravotničtí pracovníci celkem</a:t>
            </a: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42488E7D-BBBA-434F-B593-669897479465}"/>
              </a:ext>
            </a:extLst>
          </p:cNvPr>
          <p:cNvSpPr/>
          <p:nvPr/>
        </p:nvSpPr>
        <p:spPr>
          <a:xfrm>
            <a:off x="1733551" y="6537471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  <p:graphicFrame>
        <p:nvGraphicFramePr>
          <p:cNvPr id="3" name="Tabulka 2">
            <a:extLst>
              <a:ext uri="{FF2B5EF4-FFF2-40B4-BE49-F238E27FC236}">
                <a16:creationId xmlns:a16="http://schemas.microsoft.com/office/drawing/2014/main" id="{0C428FC5-EA14-48AE-B731-D5EA9FEB981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4828886"/>
              </p:ext>
            </p:extLst>
          </p:nvPr>
        </p:nvGraphicFramePr>
        <p:xfrm>
          <a:off x="356585" y="1390934"/>
          <a:ext cx="11149615" cy="4296106"/>
        </p:xfrm>
        <a:graphic>
          <a:graphicData uri="http://schemas.openxmlformats.org/drawingml/2006/table">
            <a:tbl>
              <a:tblPr firstRow="1" lastRow="1" bandRow="1">
                <a:tableStyleId>{5C22544A-7EE6-4342-B048-85BDC9FD1C3A}</a:tableStyleId>
              </a:tblPr>
              <a:tblGrid>
                <a:gridCol w="4823702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  <a:gridCol w="2338725">
                  <a:extLst>
                    <a:ext uri="{9D8B030D-6E8A-4147-A177-3AD203B41FA5}">
                      <a16:colId xmlns:a16="http://schemas.microsoft.com/office/drawing/2014/main" val="3939455336"/>
                    </a:ext>
                  </a:extLst>
                </a:gridCol>
                <a:gridCol w="1993594">
                  <a:extLst>
                    <a:ext uri="{9D8B030D-6E8A-4147-A177-3AD203B41FA5}">
                      <a16:colId xmlns:a16="http://schemas.microsoft.com/office/drawing/2014/main" val="2226907532"/>
                    </a:ext>
                  </a:extLst>
                </a:gridCol>
                <a:gridCol w="1993594">
                  <a:extLst>
                    <a:ext uri="{9D8B030D-6E8A-4147-A177-3AD203B41FA5}">
                      <a16:colId xmlns:a16="http://schemas.microsoft.com/office/drawing/2014/main" val="2183727549"/>
                    </a:ext>
                  </a:extLst>
                </a:gridCol>
              </a:tblGrid>
              <a:tr h="992626">
                <a:tc>
                  <a:txBody>
                    <a:bodyPr/>
                    <a:lstStyle/>
                    <a:p>
                      <a:pPr algn="l" fontAlgn="ctr"/>
                      <a:r>
                        <a:rPr lang="cs-CZ" dirty="0"/>
                        <a:t>Zdravotničtí pracovníci </a:t>
                      </a:r>
                    </a:p>
                    <a:p>
                      <a:pPr algn="l" fontAlgn="ctr"/>
                      <a:r>
                        <a:rPr lang="cs-CZ" dirty="0"/>
                        <a:t>evidovaní v NZIS*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 dirty="0">
                          <a:effectLst/>
                        </a:rPr>
                        <a:t>Celkový počet zdravotnických pracovníků**</a:t>
                      </a:r>
                      <a:endParaRPr lang="cs-CZ" sz="18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 dirty="0">
                          <a:effectLst/>
                        </a:rPr>
                        <a:t>Počet očkovaných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>
                          <a:effectLst/>
                        </a:rPr>
                        <a:t>Podíl očkovaných</a:t>
                      </a:r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3304470326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Lékař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včetně zubních lékařů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 63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 44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,4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Sestry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§ 5 Všeobecná sestra, § 5a Dětská sestra,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§ 6 Porodní asistentka, § 21b Praktická sestra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7 88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1 00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1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Ostatní zdravotničtí pracovníc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NLZP § 7 až § 42 kromě § 21b, farmaceuti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7 88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7 36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,6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u="none" strike="noStrike" dirty="0">
                          <a:effectLst/>
                        </a:rPr>
                        <a:t>CELKEM</a:t>
                      </a:r>
                      <a:endParaRPr lang="cs-CZ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63 39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63 8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72,6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34177443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0D1107EB-D187-4678-AF28-2A18CAE50957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25. 9. 2021</a:t>
            </a:r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C6F37292-6D98-4BA4-B894-BD354102F974}"/>
              </a:ext>
            </a:extLst>
          </p:cNvPr>
          <p:cNvSpPr/>
          <p:nvPr/>
        </p:nvSpPr>
        <p:spPr>
          <a:xfrm>
            <a:off x="330707" y="5686170"/>
            <a:ext cx="11454102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 lvl="0"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* Počet zdravotnických pracovníků </a:t>
            </a:r>
            <a:r>
              <a:rPr lang="cs-CZ" sz="1100" dirty="0">
                <a:solidFill>
                  <a:srgbClr val="000000"/>
                </a:solidFill>
              </a:rPr>
              <a:t>evidovaných v NZIS (Národní registr zdravotnických pracovníků – NRZP)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</a:p>
        </p:txBody>
      </p:sp>
      <p:sp>
        <p:nvSpPr>
          <p:cNvPr id="4" name="TextovéPole 3"/>
          <p:cNvSpPr txBox="1"/>
          <p:nvPr/>
        </p:nvSpPr>
        <p:spPr>
          <a:xfrm>
            <a:off x="255987" y="618549"/>
            <a:ext cx="1169788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Tabulka tedy nereflektuje, zda daný ZP skutečně vykonává zdravotnické povolání v ČR. Zahrnuti jsou i ZP v seniorním, důchodovém, věku. </a:t>
            </a:r>
          </a:p>
        </p:txBody>
      </p:sp>
    </p:spTree>
    <p:extLst>
      <p:ext uri="{BB962C8B-B14F-4D97-AF65-F5344CB8AC3E}">
        <p14:creationId xmlns:p14="http://schemas.microsoft.com/office/powerpoint/2010/main" val="3699004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aktivní zdravotničtí pracovníci</a:t>
            </a: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42488E7D-BBBA-434F-B593-669897479465}"/>
              </a:ext>
            </a:extLst>
          </p:cNvPr>
          <p:cNvSpPr/>
          <p:nvPr/>
        </p:nvSpPr>
        <p:spPr>
          <a:xfrm>
            <a:off x="1733551" y="6556521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B5F8F24A-407C-46C2-BF8F-7094A798CF34}"/>
              </a:ext>
            </a:extLst>
          </p:cNvPr>
          <p:cNvSpPr/>
          <p:nvPr/>
        </p:nvSpPr>
        <p:spPr>
          <a:xfrm>
            <a:off x="331021" y="5689889"/>
            <a:ext cx="1145410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>
              <a:defRPr/>
            </a:pPr>
            <a:r>
              <a:rPr lang="cs-CZ" sz="1100" dirty="0">
                <a:solidFill>
                  <a:srgbClr val="000000"/>
                </a:solidFill>
              </a:rPr>
              <a:t>** Počet zdravotnických pracovníků nahlášených do NZIS (Národní registr zdravotnických pracovníků – NRZP) poskytovateli zdravotních služeb jako aktivní v období od 1.6.2021 do současnosti.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309541" y="621246"/>
            <a:ext cx="115613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V této analýze jsou zahrnuti ZP, u kterých poskytovatelé zdravotních služeb nahlásili jejich aktivní výkon zaměstnání (v ambulantním sektoru mohou být tyto počty mírně nedohlášené). </a:t>
            </a: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7A968ED8-B7A5-4B68-AF27-DAE3E4FFEDCD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600" b="1" dirty="0">
                <a:solidFill>
                  <a:srgbClr val="FFFFFF"/>
                </a:solidFill>
              </a:rPr>
              <a:t>Stav k 25. 9. 2021</a:t>
            </a:r>
          </a:p>
        </p:txBody>
      </p:sp>
      <p:graphicFrame>
        <p:nvGraphicFramePr>
          <p:cNvPr id="13" name="Tabulka 12">
            <a:extLst>
              <a:ext uri="{FF2B5EF4-FFF2-40B4-BE49-F238E27FC236}">
                <a16:creationId xmlns:a16="http://schemas.microsoft.com/office/drawing/2014/main" id="{9EBA9451-7A3F-4EF9-93DD-7094F620D3D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30652382"/>
              </p:ext>
            </p:extLst>
          </p:nvPr>
        </p:nvGraphicFramePr>
        <p:xfrm>
          <a:off x="356585" y="1390934"/>
          <a:ext cx="11273439" cy="4296106"/>
        </p:xfrm>
        <a:graphic>
          <a:graphicData uri="http://schemas.openxmlformats.org/drawingml/2006/table">
            <a:tbl>
              <a:tblPr firstRow="1" lastRow="1" bandRow="1">
                <a:tableStyleId>{5C22544A-7EE6-4342-B048-85BDC9FD1C3A}</a:tableStyleId>
              </a:tblPr>
              <a:tblGrid>
                <a:gridCol w="4877273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  <a:gridCol w="2364698">
                  <a:extLst>
                    <a:ext uri="{9D8B030D-6E8A-4147-A177-3AD203B41FA5}">
                      <a16:colId xmlns:a16="http://schemas.microsoft.com/office/drawing/2014/main" val="3939455336"/>
                    </a:ext>
                  </a:extLst>
                </a:gridCol>
                <a:gridCol w="2015734">
                  <a:extLst>
                    <a:ext uri="{9D8B030D-6E8A-4147-A177-3AD203B41FA5}">
                      <a16:colId xmlns:a16="http://schemas.microsoft.com/office/drawing/2014/main" val="2226907532"/>
                    </a:ext>
                  </a:extLst>
                </a:gridCol>
                <a:gridCol w="2015734">
                  <a:extLst>
                    <a:ext uri="{9D8B030D-6E8A-4147-A177-3AD203B41FA5}">
                      <a16:colId xmlns:a16="http://schemas.microsoft.com/office/drawing/2014/main" val="2183727549"/>
                    </a:ext>
                  </a:extLst>
                </a:gridCol>
              </a:tblGrid>
              <a:tr h="992626">
                <a:tc>
                  <a:txBody>
                    <a:bodyPr/>
                    <a:lstStyle/>
                    <a:p>
                      <a:pPr algn="l" fontAlgn="ctr"/>
                      <a:r>
                        <a:rPr lang="cs-CZ" dirty="0"/>
                        <a:t>Zdravotničtí pracovníci </a:t>
                      </a:r>
                    </a:p>
                    <a:p>
                      <a:pPr algn="l" fontAlgn="ctr"/>
                      <a:r>
                        <a:rPr lang="cs-CZ" dirty="0"/>
                        <a:t>evidovaní v NZIS*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 dirty="0">
                          <a:effectLst/>
                        </a:rPr>
                        <a:t>Počet aktivních zdravotnických pracovníků**</a:t>
                      </a:r>
                      <a:endParaRPr lang="cs-CZ" sz="18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 dirty="0">
                          <a:effectLst/>
                        </a:rPr>
                        <a:t>Počet očkovaných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>
                          <a:effectLst/>
                        </a:rPr>
                        <a:t>Podíl očkovaných</a:t>
                      </a:r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3304470326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Lékař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včetně zubních lékařů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 00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 56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,7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Sestry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§ 5 Všeobecná sestra, § 5a Dětská sestra,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§ 6 Porodní asistentka, § 21b Praktická sestra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4 99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 95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,1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Ostatní zdravotničtí pracovníc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NLZP § 7 až § 42 kromě § 21b, farmaceuti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3 05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 25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5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u="none" strike="noStrike" dirty="0">
                          <a:effectLst/>
                        </a:rPr>
                        <a:t>CELKEM</a:t>
                      </a:r>
                      <a:endParaRPr lang="cs-CZ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50 05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96 77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78,7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341774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7823012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délník 4">
            <a:extLst>
              <a:ext uri="{FF2B5EF4-FFF2-40B4-BE49-F238E27FC236}">
                <a16:creationId xmlns:a16="http://schemas.microsoft.com/office/drawing/2014/main" id="{CD96D264-7DB7-4540-BD2A-BEA7AA3CDEDF}"/>
              </a:ext>
            </a:extLst>
          </p:cNvPr>
          <p:cNvSpPr/>
          <p:nvPr/>
        </p:nvSpPr>
        <p:spPr>
          <a:xfrm>
            <a:off x="609693" y="647811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ctr"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nově COVID-19 pozitivních (incidence), 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stav k 23. 9. 2021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5" name="TextovéPole 8">
            <a:extLst>
              <a:ext uri="{FF2B5EF4-FFF2-40B4-BE49-F238E27FC236}">
                <a16:creationId xmlns:a16="http://schemas.microsoft.com/office/drawing/2014/main" id="{647DDAC2-3C77-4F03-9BD2-24C7C1216857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100" dirty="0">
                <a:latin typeface="Calibri" panose="020F0502020204030204" pitchFamily="34" charset="0"/>
                <a:cs typeface="Calibri" panose="020F0502020204030204" pitchFamily="34" charset="0"/>
              </a:rPr>
              <a:t>Zdroj: ISIN – Informační systém infekční nemocí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pracovníků ve zdravotnictví s nákazou COVID-19</a:t>
            </a:r>
          </a:p>
        </p:txBody>
      </p:sp>
      <p:graphicFrame>
        <p:nvGraphicFramePr>
          <p:cNvPr id="8" name="Graf 7">
            <a:extLst>
              <a:ext uri="{FF2B5EF4-FFF2-40B4-BE49-F238E27FC236}">
                <a16:creationId xmlns:a16="http://schemas.microsoft.com/office/drawing/2014/main" id="{43448D1D-2E05-45CA-A866-143DDBF5BA0C}"/>
              </a:ext>
            </a:extLst>
          </p:cNvPr>
          <p:cNvGraphicFramePr/>
          <p:nvPr/>
        </p:nvGraphicFramePr>
        <p:xfrm>
          <a:off x="142875" y="1119730"/>
          <a:ext cx="7153275" cy="54476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7C1367ED-B273-4E58-BBB3-AD1B81F63A12}"/>
              </a:ext>
            </a:extLst>
          </p:cNvPr>
          <p:cNvGraphicFramePr>
            <a:graphicFrameLocks noGrp="1"/>
          </p:cNvGraphicFramePr>
          <p:nvPr/>
        </p:nvGraphicFramePr>
        <p:xfrm>
          <a:off x="7296150" y="1209675"/>
          <a:ext cx="4661411" cy="5209594"/>
        </p:xfrm>
        <a:graphic>
          <a:graphicData uri="http://schemas.openxmlformats.org/drawingml/2006/table">
            <a:tbl>
              <a:tblPr/>
              <a:tblGrid>
                <a:gridCol w="1453112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782840">
                  <a:extLst>
                    <a:ext uri="{9D8B030D-6E8A-4147-A177-3AD203B41FA5}">
                      <a16:colId xmlns:a16="http://schemas.microsoft.com/office/drawing/2014/main" val="3345832007"/>
                    </a:ext>
                  </a:extLst>
                </a:gridCol>
                <a:gridCol w="782840">
                  <a:extLst>
                    <a:ext uri="{9D8B030D-6E8A-4147-A177-3AD203B41FA5}">
                      <a16:colId xmlns:a16="http://schemas.microsoft.com/office/drawing/2014/main" val="3216505177"/>
                    </a:ext>
                  </a:extLst>
                </a:gridCol>
                <a:gridCol w="840544">
                  <a:extLst>
                    <a:ext uri="{9D8B030D-6E8A-4147-A177-3AD203B41FA5}">
                      <a16:colId xmlns:a16="http://schemas.microsoft.com/office/drawing/2014/main" val="1240375351"/>
                    </a:ext>
                  </a:extLst>
                </a:gridCol>
                <a:gridCol w="802075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872809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 denní klouzavý průměr 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poslední den)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  <a:endParaRPr lang="cs-CZ" sz="1200" b="0" i="0" u="none" strike="noStrike" dirty="0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Sesterská povolání </a:t>
                      </a:r>
                      <a:endParaRPr lang="cs-CZ" sz="1200" b="0" i="0" u="none" strike="noStrike" dirty="0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Ostatní zdravotničtí pracovníci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6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  <p:cxnSp>
        <p:nvCxnSpPr>
          <p:cNvPr id="14" name="Straight Connector 4">
            <a:extLst>
              <a:ext uri="{FF2B5EF4-FFF2-40B4-BE49-F238E27FC236}">
                <a16:creationId xmlns:a16="http://schemas.microsoft.com/office/drawing/2014/main" id="{F5F70D9E-87A2-4BFA-BE04-CC7F4241D0B4}"/>
              </a:ext>
            </a:extLst>
          </p:cNvPr>
          <p:cNvCxnSpPr/>
          <p:nvPr/>
        </p:nvCxnSpPr>
        <p:spPr>
          <a:xfrm>
            <a:off x="5606765" y="2197645"/>
            <a:ext cx="216000" cy="0"/>
          </a:xfrm>
          <a:prstGeom prst="line">
            <a:avLst/>
          </a:prstGeom>
          <a:ln w="1905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5">
            <a:extLst>
              <a:ext uri="{FF2B5EF4-FFF2-40B4-BE49-F238E27FC236}">
                <a16:creationId xmlns:a16="http://schemas.microsoft.com/office/drawing/2014/main" id="{39CA3BBA-412B-4A3C-ADC1-DAF4B494D04F}"/>
              </a:ext>
            </a:extLst>
          </p:cNvPr>
          <p:cNvSpPr txBox="1"/>
          <p:nvPr/>
        </p:nvSpPr>
        <p:spPr>
          <a:xfrm>
            <a:off x="5789707" y="2028371"/>
            <a:ext cx="1341224" cy="5978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100"/>
              </a:lnSpc>
              <a:spcBef>
                <a:spcPts val="600"/>
              </a:spcBef>
            </a:pPr>
            <a:r>
              <a:rPr lang="cs-CZ" sz="1200" b="1" dirty="0">
                <a:latin typeface="Calibri" panose="020F0502020204030204" pitchFamily="34" charset="0"/>
                <a:cs typeface="Calibri" panose="020F0502020204030204" pitchFamily="34" charset="0"/>
              </a:rPr>
              <a:t>7 denní klouzavý průměr</a:t>
            </a:r>
          </a:p>
          <a:p>
            <a:pPr>
              <a:lnSpc>
                <a:spcPts val="1100"/>
              </a:lnSpc>
              <a:spcBef>
                <a:spcPts val="600"/>
              </a:spcBef>
            </a:pPr>
            <a:r>
              <a:rPr lang="cs-CZ" sz="1200" b="1" dirty="0">
                <a:latin typeface="Calibri" panose="020F0502020204030204" pitchFamily="34" charset="0"/>
                <a:cs typeface="Calibri" panose="020F0502020204030204" pitchFamily="34" charset="0"/>
              </a:rPr>
              <a:t>denní hodnoty</a:t>
            </a:r>
          </a:p>
        </p:txBody>
      </p:sp>
      <p:cxnSp>
        <p:nvCxnSpPr>
          <p:cNvPr id="17" name="Straight Connector 4">
            <a:extLst>
              <a:ext uri="{FF2B5EF4-FFF2-40B4-BE49-F238E27FC236}">
                <a16:creationId xmlns:a16="http://schemas.microsoft.com/office/drawing/2014/main" id="{49368D80-8513-4AF4-B12A-04F7F7E5994A}"/>
              </a:ext>
            </a:extLst>
          </p:cNvPr>
          <p:cNvCxnSpPr/>
          <p:nvPr/>
        </p:nvCxnSpPr>
        <p:spPr>
          <a:xfrm>
            <a:off x="5606765" y="2492920"/>
            <a:ext cx="216000" cy="0"/>
          </a:xfrm>
          <a:prstGeom prst="line">
            <a:avLst/>
          </a:prstGeom>
          <a:ln w="635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5">
            <a:extLst>
              <a:ext uri="{FF2B5EF4-FFF2-40B4-BE49-F238E27FC236}">
                <a16:creationId xmlns:a16="http://schemas.microsoft.com/office/drawing/2014/main" id="{5F83CAAA-A3F3-4137-A444-807362C84989}"/>
              </a:ext>
            </a:extLst>
          </p:cNvPr>
          <p:cNvSpPr txBox="1"/>
          <p:nvPr/>
        </p:nvSpPr>
        <p:spPr>
          <a:xfrm>
            <a:off x="5482538" y="3040721"/>
            <a:ext cx="1341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i="1" dirty="0">
                <a:latin typeface="Calibri" panose="020F0502020204030204" pitchFamily="34" charset="0"/>
                <a:cs typeface="Calibri" panose="020F0502020204030204" pitchFamily="34" charset="0"/>
              </a:rPr>
              <a:t>Poslední den:</a:t>
            </a:r>
          </a:p>
        </p:txBody>
      </p:sp>
    </p:spTree>
    <p:extLst>
      <p:ext uri="{BB962C8B-B14F-4D97-AF65-F5344CB8AC3E}">
        <p14:creationId xmlns:p14="http://schemas.microsoft.com/office/powerpoint/2010/main" val="357774843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délník 4">
            <a:extLst>
              <a:ext uri="{FF2B5EF4-FFF2-40B4-BE49-F238E27FC236}">
                <a16:creationId xmlns:a16="http://schemas.microsoft.com/office/drawing/2014/main" id="{CD96D264-7DB7-4540-BD2A-BEA7AA3CDEDF}"/>
              </a:ext>
            </a:extLst>
          </p:cNvPr>
          <p:cNvSpPr/>
          <p:nvPr/>
        </p:nvSpPr>
        <p:spPr>
          <a:xfrm>
            <a:off x="609693" y="647811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ctr"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ktuální počet COVID-19 pozitivních (prevalence), 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stav k 23. 9. 2021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5" name="TextovéPole 8">
            <a:extLst>
              <a:ext uri="{FF2B5EF4-FFF2-40B4-BE49-F238E27FC236}">
                <a16:creationId xmlns:a16="http://schemas.microsoft.com/office/drawing/2014/main" id="{647DDAC2-3C77-4F03-9BD2-24C7C1216857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100" dirty="0">
                <a:latin typeface="Calibri" panose="020F0502020204030204" pitchFamily="34" charset="0"/>
                <a:cs typeface="Calibri" panose="020F0502020204030204" pitchFamily="34" charset="0"/>
              </a:rPr>
              <a:t>Zdroj: ISIN – Informační systém infekční nemocí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pracovníků ve zdravotnictví s nákazou COVID-19</a:t>
            </a:r>
          </a:p>
        </p:txBody>
      </p:sp>
      <p:graphicFrame>
        <p:nvGraphicFramePr>
          <p:cNvPr id="8" name="Graf 7">
            <a:extLst>
              <a:ext uri="{FF2B5EF4-FFF2-40B4-BE49-F238E27FC236}">
                <a16:creationId xmlns:a16="http://schemas.microsoft.com/office/drawing/2014/main" id="{43448D1D-2E05-45CA-A866-143DDBF5BA0C}"/>
              </a:ext>
            </a:extLst>
          </p:cNvPr>
          <p:cNvGraphicFramePr/>
          <p:nvPr/>
        </p:nvGraphicFramePr>
        <p:xfrm>
          <a:off x="200025" y="1119730"/>
          <a:ext cx="6743700" cy="54476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7C1367ED-B273-4E58-BBB3-AD1B81F63A12}"/>
              </a:ext>
            </a:extLst>
          </p:cNvPr>
          <p:cNvGraphicFramePr>
            <a:graphicFrameLocks noGrp="1"/>
          </p:cNvGraphicFramePr>
          <p:nvPr/>
        </p:nvGraphicFramePr>
        <p:xfrm>
          <a:off x="7026513" y="1256231"/>
          <a:ext cx="4848225" cy="5154086"/>
        </p:xfrm>
        <a:graphic>
          <a:graphicData uri="http://schemas.openxmlformats.org/drawingml/2006/table">
            <a:tbl>
              <a:tblPr/>
              <a:tblGrid>
                <a:gridCol w="1485693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840633">
                  <a:extLst>
                    <a:ext uri="{9D8B030D-6E8A-4147-A177-3AD203B41FA5}">
                      <a16:colId xmlns:a16="http://schemas.microsoft.com/office/drawing/2014/main" val="3345832007"/>
                    </a:ext>
                  </a:extLst>
                </a:gridCol>
                <a:gridCol w="840633">
                  <a:extLst>
                    <a:ext uri="{9D8B030D-6E8A-4147-A177-3AD203B41FA5}">
                      <a16:colId xmlns:a16="http://schemas.microsoft.com/office/drawing/2014/main" val="3216505177"/>
                    </a:ext>
                  </a:extLst>
                </a:gridCol>
                <a:gridCol w="840633">
                  <a:extLst>
                    <a:ext uri="{9D8B030D-6E8A-4147-A177-3AD203B41FA5}">
                      <a16:colId xmlns:a16="http://schemas.microsoft.com/office/drawing/2014/main" val="1240375351"/>
                    </a:ext>
                  </a:extLst>
                </a:gridCol>
                <a:gridCol w="840633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884666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  <a:endParaRPr lang="cs-CZ" sz="1200" b="0" i="0" u="none" strike="noStrike" dirty="0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Sesterská povolání </a:t>
                      </a:r>
                      <a:endParaRPr lang="cs-CZ" sz="1200" b="0" i="0" u="none" strike="noStrike" dirty="0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Ostatní zdravotničtí pracovníci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9406637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8FB27B58-CDFD-4DC2-95CE-0126858F084C}"/>
              </a:ext>
            </a:extLst>
          </p:cNvPr>
          <p:cNvGraphicFramePr>
            <a:graphicFrameLocks noGrp="1"/>
          </p:cNvGraphicFramePr>
          <p:nvPr/>
        </p:nvGraphicFramePr>
        <p:xfrm>
          <a:off x="10842625" y="2260339"/>
          <a:ext cx="775982" cy="3621675"/>
        </p:xfrm>
        <a:graphic>
          <a:graphicData uri="http://schemas.openxmlformats.org/drawingml/2006/table">
            <a:tbl>
              <a:tblPr/>
              <a:tblGrid>
                <a:gridCol w="775982">
                  <a:extLst>
                    <a:ext uri="{9D8B030D-6E8A-4147-A177-3AD203B41FA5}">
                      <a16:colId xmlns:a16="http://schemas.microsoft.com/office/drawing/2014/main" val="3641823029"/>
                    </a:ext>
                  </a:extLst>
                </a:gridCol>
              </a:tblGrid>
              <a:tr h="241445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B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3894060"/>
                  </a:ext>
                </a:extLst>
              </a:tr>
              <a:tr h="241445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9B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2226981"/>
                  </a:ext>
                </a:extLst>
              </a:tr>
              <a:tr h="241445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6C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10386"/>
                  </a:ext>
                </a:extLst>
              </a:tr>
              <a:tr h="241445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0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1318953"/>
                  </a:ext>
                </a:extLst>
              </a:tr>
              <a:tr h="241445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9684922"/>
                  </a:ext>
                </a:extLst>
              </a:tr>
              <a:tr h="241445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41697155"/>
                  </a:ext>
                </a:extLst>
              </a:tr>
              <a:tr h="241445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5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5482616"/>
                  </a:ext>
                </a:extLst>
              </a:tr>
              <a:tr h="241445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3081307"/>
                  </a:ext>
                </a:extLst>
              </a:tr>
              <a:tr h="241445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1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9642637"/>
                  </a:ext>
                </a:extLst>
              </a:tr>
              <a:tr h="241445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5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5456374"/>
                  </a:ext>
                </a:extLst>
              </a:tr>
              <a:tr h="241445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0D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5735458"/>
                  </a:ext>
                </a:extLst>
              </a:tr>
              <a:tr h="241445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2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08758492"/>
                  </a:ext>
                </a:extLst>
              </a:tr>
              <a:tr h="241445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1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4336960"/>
                  </a:ext>
                </a:extLst>
              </a:tr>
              <a:tr h="241445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2697003"/>
                  </a:ext>
                </a:extLst>
              </a:tr>
              <a:tr h="241445"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C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763577"/>
                  </a:ext>
                </a:extLst>
              </a:tr>
            </a:tbl>
          </a:graphicData>
        </a:graphic>
      </p:graphicFrame>
      <p:sp>
        <p:nvSpPr>
          <p:cNvPr id="10" name="TextovéPole 5">
            <a:extLst>
              <a:ext uri="{FF2B5EF4-FFF2-40B4-BE49-F238E27FC236}">
                <a16:creationId xmlns:a16="http://schemas.microsoft.com/office/drawing/2014/main" id="{E3A22678-EE0A-4F0C-80A0-91CC52509AD0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100" dirty="0">
                <a:latin typeface="Calibri" panose="020F0502020204030204" pitchFamily="34" charset="0"/>
                <a:cs typeface="Calibri" panose="020F0502020204030204" pitchFamily="34" charset="0"/>
              </a:rPr>
              <a:t>Zdroj: ISIN – Informační systém infekční nemocí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AE238D39-7489-4465-AC4A-2E3C5F72AF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145" y="2"/>
            <a:ext cx="7502895" cy="576000"/>
          </a:xfrm>
        </p:spPr>
        <p:txBody>
          <a:bodyPr/>
          <a:lstStyle/>
          <a:p>
            <a:r>
              <a:rPr lang="cs-CZ" dirty="0"/>
              <a:t>Počty pracovníků ve zdravotnictví s nákazou COVID-19</a:t>
            </a:r>
          </a:p>
        </p:txBody>
      </p:sp>
      <p:sp>
        <p:nvSpPr>
          <p:cNvPr id="15" name="Obdélník 14">
            <a:extLst>
              <a:ext uri="{FF2B5EF4-FFF2-40B4-BE49-F238E27FC236}">
                <a16:creationId xmlns:a16="http://schemas.microsoft.com/office/drawing/2014/main" id="{1D66D047-1A81-43A9-AEC0-D36353A2C52D}"/>
              </a:ext>
            </a:extLst>
          </p:cNvPr>
          <p:cNvSpPr/>
          <p:nvPr/>
        </p:nvSpPr>
        <p:spPr>
          <a:xfrm>
            <a:off x="607274" y="646685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ctr">
              <a:defRPr/>
            </a:pPr>
            <a:r>
              <a:rPr lang="cs-CZ" sz="2000" b="1" dirty="0">
                <a:solidFill>
                  <a:srgbClr val="000000"/>
                </a:solidFill>
                <a:latin typeface="Calibri" panose="020F0502020204030204" pitchFamily="34" charset="0"/>
              </a:rPr>
              <a:t>Aktuální počet COVID-19 pozitivních, 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stav k 23. 9. 2021 </a:t>
            </a:r>
            <a:endParaRPr lang="cs-CZ" sz="2000" b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17" name="Tabulka 16">
            <a:extLst>
              <a:ext uri="{FF2B5EF4-FFF2-40B4-BE49-F238E27FC236}">
                <a16:creationId xmlns:a16="http://schemas.microsoft.com/office/drawing/2014/main" id="{35E2859C-4D5B-4818-B563-9E4138B938E9}"/>
              </a:ext>
            </a:extLst>
          </p:cNvPr>
          <p:cNvGraphicFramePr>
            <a:graphicFrameLocks noGrp="1"/>
          </p:cNvGraphicFramePr>
          <p:nvPr/>
        </p:nvGraphicFramePr>
        <p:xfrm>
          <a:off x="672701" y="1101986"/>
          <a:ext cx="10945906" cy="4780030"/>
        </p:xfrm>
        <a:graphic>
          <a:graphicData uri="http://schemas.openxmlformats.org/drawingml/2006/table">
            <a:tbl>
              <a:tblPr/>
              <a:tblGrid>
                <a:gridCol w="1670422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3345832007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533895005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16061117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3216505177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3422552456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4012377110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240375351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2366221837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915136564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256011791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711815336"/>
                    </a:ext>
                  </a:extLst>
                </a:gridCol>
              </a:tblGrid>
              <a:tr h="553235"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  <a:endParaRPr lang="cs-CZ" sz="16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esterská povolání 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(§ 5 Všeobecná sestra, § 5a Dětská sestra, § 6 Porodní asistentka, § 21b Praktická sestra)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0" i="0" u="none" strike="noStrike" dirty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0" i="0" u="none" strike="noStrike" dirty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čtí pracovníci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614705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tis. obyvatel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úvazků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tis. obyvatel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úvazků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tis. obyvatel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úvazků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tis. obyvatel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úvazků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1881938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  <p:sp>
        <p:nvSpPr>
          <p:cNvPr id="18" name="TextovéPole 17">
            <a:extLst>
              <a:ext uri="{FF2B5EF4-FFF2-40B4-BE49-F238E27FC236}">
                <a16:creationId xmlns:a16="http://schemas.microsoft.com/office/drawing/2014/main" id="{C60E1484-55C4-4B6F-A638-3236D2A6D736}"/>
              </a:ext>
            </a:extLst>
          </p:cNvPr>
          <p:cNvSpPr txBox="1"/>
          <p:nvPr/>
        </p:nvSpPr>
        <p:spPr>
          <a:xfrm>
            <a:off x="2209088" y="5966151"/>
            <a:ext cx="975134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>
                <a:latin typeface="Calibri" panose="020F0502020204030204" pitchFamily="34" charset="0"/>
                <a:cs typeface="Calibri" panose="020F0502020204030204" pitchFamily="34" charset="0"/>
              </a:rPr>
              <a:t>* Úvazky včetně smluvních pracovníků za rok 2019 podle statistických zjišťování MZ za rok 2019, v</a:t>
            </a:r>
            <a:r>
              <a:rPr lang="pt-BR" sz="1200" dirty="0">
                <a:latin typeface="Calibri" panose="020F0502020204030204" pitchFamily="34" charset="0"/>
                <a:cs typeface="Calibri" panose="020F0502020204030204" pitchFamily="34" charset="0"/>
              </a:rPr>
              <a:t>ýkaz</a:t>
            </a:r>
            <a:r>
              <a:rPr lang="cs-CZ" sz="1200" dirty="0">
                <a:latin typeface="Calibri" panose="020F0502020204030204" pitchFamily="34" charset="0"/>
                <a:cs typeface="Calibri" panose="020F0502020204030204" pitchFamily="34" charset="0"/>
              </a:rPr>
              <a:t>y</a:t>
            </a:r>
            <a:r>
              <a:rPr lang="pt-BR" sz="1200" dirty="0">
                <a:latin typeface="Calibri" panose="020F0502020204030204" pitchFamily="34" charset="0"/>
                <a:cs typeface="Calibri" panose="020F0502020204030204" pitchFamily="34" charset="0"/>
              </a:rPr>
              <a:t> E (MZ) 2-01, E (MZ) 3-01 a E (MZ) 4-01</a:t>
            </a:r>
            <a:endParaRPr lang="cs-CZ" sz="1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D38389EE-F8C1-4AAD-BB2B-BF9F71F72F8C}"/>
              </a:ext>
            </a:extLst>
          </p:cNvPr>
          <p:cNvSpPr txBox="1"/>
          <p:nvPr/>
        </p:nvSpPr>
        <p:spPr>
          <a:xfrm>
            <a:off x="4911603" y="6276375"/>
            <a:ext cx="70547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dirty="0"/>
              <a:t>Barevná škála vizualizuje rozsah hodnot v územích v rámci sledovaného ukazatele (sloupce)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1834C1AC-8D63-45D3-ADC1-6A054BF785C6}"/>
              </a:ext>
            </a:extLst>
          </p:cNvPr>
          <p:cNvGrpSpPr/>
          <p:nvPr/>
        </p:nvGrpSpPr>
        <p:grpSpPr>
          <a:xfrm>
            <a:off x="2768481" y="6338662"/>
            <a:ext cx="2143122" cy="171474"/>
            <a:chOff x="2185672" y="6586960"/>
            <a:chExt cx="2143122" cy="171474"/>
          </a:xfrm>
        </p:grpSpPr>
        <p:sp>
          <p:nvSpPr>
            <p:cNvPr id="22" name="TextovéPole 21">
              <a:extLst>
                <a:ext uri="{FF2B5EF4-FFF2-40B4-BE49-F238E27FC236}">
                  <a16:creationId xmlns:a16="http://schemas.microsoft.com/office/drawing/2014/main" id="{9B93F5A1-61AB-4ADF-8174-6F49ABD78FD6}"/>
                </a:ext>
              </a:extLst>
            </p:cNvPr>
            <p:cNvSpPr txBox="1"/>
            <p:nvPr/>
          </p:nvSpPr>
          <p:spPr>
            <a:xfrm>
              <a:off x="2185672" y="6586960"/>
              <a:ext cx="2143122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cs-CZ" sz="1000" dirty="0"/>
                <a:t>min %                                    max %</a:t>
              </a:r>
            </a:p>
          </p:txBody>
        </p:sp>
        <p:pic>
          <p:nvPicPr>
            <p:cNvPr id="24" name="Obrázek 23">
              <a:extLst>
                <a:ext uri="{FF2B5EF4-FFF2-40B4-BE49-F238E27FC236}">
                  <a16:creationId xmlns:a16="http://schemas.microsoft.com/office/drawing/2014/main" id="{A9AA69C9-AA2B-4055-9A8C-660DAE0AD60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653291" y="6586960"/>
              <a:ext cx="1190791" cy="17147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6497003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8F66D6FE-5CBC-4002-8EEB-9F168F9B3917}"/>
              </a:ext>
            </a:extLst>
          </p:cNvPr>
          <p:cNvGraphicFramePr>
            <a:graphicFrameLocks noGrp="1"/>
          </p:cNvGraphicFramePr>
          <p:nvPr/>
        </p:nvGraphicFramePr>
        <p:xfrm>
          <a:off x="9286874" y="1990255"/>
          <a:ext cx="1848293" cy="4002660"/>
        </p:xfrm>
        <a:graphic>
          <a:graphicData uri="http://schemas.openxmlformats.org/drawingml/2006/table">
            <a:tbl>
              <a:tblPr/>
              <a:tblGrid>
                <a:gridCol w="1848293">
                  <a:extLst>
                    <a:ext uri="{9D8B030D-6E8A-4147-A177-3AD203B41FA5}">
                      <a16:colId xmlns:a16="http://schemas.microsoft.com/office/drawing/2014/main" val="3477016351"/>
                    </a:ext>
                  </a:extLst>
                </a:gridCol>
              </a:tblGrid>
              <a:tr h="266844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07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54814"/>
                  </a:ext>
                </a:extLst>
              </a:tr>
              <a:tr h="266844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0D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3462885"/>
                  </a:ext>
                </a:extLst>
              </a:tr>
              <a:tr h="266844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DD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00936402"/>
                  </a:ext>
                </a:extLst>
              </a:tr>
              <a:tr h="266844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46308215"/>
                  </a:ext>
                </a:extLst>
              </a:tr>
              <a:tr h="266844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068560"/>
                  </a:ext>
                </a:extLst>
              </a:tr>
              <a:tr h="266844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114397"/>
                  </a:ext>
                </a:extLst>
              </a:tr>
              <a:tr h="266844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3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2704949"/>
                  </a:ext>
                </a:extLst>
              </a:tr>
              <a:tr h="266844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0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5499666"/>
                  </a:ext>
                </a:extLst>
              </a:tr>
              <a:tr h="266844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3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2378030"/>
                  </a:ext>
                </a:extLst>
              </a:tr>
              <a:tr h="266844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6025652"/>
                  </a:ext>
                </a:extLst>
              </a:tr>
              <a:tr h="266844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DD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236362"/>
                  </a:ext>
                </a:extLst>
              </a:tr>
              <a:tr h="266844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0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8262765"/>
                  </a:ext>
                </a:extLst>
              </a:tr>
              <a:tr h="266844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3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9136581"/>
                  </a:ext>
                </a:extLst>
              </a:tr>
              <a:tr h="266844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7729524"/>
                  </a:ext>
                </a:extLst>
              </a:tr>
              <a:tr h="266844"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02968434"/>
                  </a:ext>
                </a:extLst>
              </a:tr>
            </a:tbl>
          </a:graphicData>
        </a:graphic>
      </p:graphicFrame>
      <p:sp>
        <p:nvSpPr>
          <p:cNvPr id="15" name="TextovéPole 8">
            <a:extLst>
              <a:ext uri="{FF2B5EF4-FFF2-40B4-BE49-F238E27FC236}">
                <a16:creationId xmlns:a16="http://schemas.microsoft.com/office/drawing/2014/main" id="{647DDAC2-3C77-4F03-9BD2-24C7C1216857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droj: ISIN – Informační systém infekční nemocí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pracovníků ve zdravotnictví (ZP) s nákazou COVID-19</a:t>
            </a: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7C1367ED-B273-4E58-BBB3-AD1B81F63A12}"/>
              </a:ext>
            </a:extLst>
          </p:cNvPr>
          <p:cNvGraphicFramePr>
            <a:graphicFrameLocks noGrp="1"/>
          </p:cNvGraphicFramePr>
          <p:nvPr/>
        </p:nvGraphicFramePr>
        <p:xfrm>
          <a:off x="1093858" y="1238720"/>
          <a:ext cx="10041310" cy="4754200"/>
        </p:xfrm>
        <a:graphic>
          <a:graphicData uri="http://schemas.openxmlformats.org/drawingml/2006/table">
            <a:tbl>
              <a:tblPr/>
              <a:tblGrid>
                <a:gridCol w="2694402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1836727">
                  <a:extLst>
                    <a:ext uri="{9D8B030D-6E8A-4147-A177-3AD203B41FA5}">
                      <a16:colId xmlns:a16="http://schemas.microsoft.com/office/drawing/2014/main" val="3345832007"/>
                    </a:ext>
                  </a:extLst>
                </a:gridCol>
                <a:gridCol w="1836727">
                  <a:extLst>
                    <a:ext uri="{9D8B030D-6E8A-4147-A177-3AD203B41FA5}">
                      <a16:colId xmlns:a16="http://schemas.microsoft.com/office/drawing/2014/main" val="3216505177"/>
                    </a:ext>
                  </a:extLst>
                </a:gridCol>
                <a:gridCol w="1836727">
                  <a:extLst>
                    <a:ext uri="{9D8B030D-6E8A-4147-A177-3AD203B41FA5}">
                      <a16:colId xmlns:a16="http://schemas.microsoft.com/office/drawing/2014/main" val="1240375351"/>
                    </a:ext>
                  </a:extLst>
                </a:gridCol>
                <a:gridCol w="1836727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763945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Počet celkem 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(*z toho v nemocnicích akutní lůžkové péče / ambulance PL, PLDD, PL gynekolog / ambulance zubního lékaře)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  <a:endParaRPr lang="cs-CZ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esterská povolání 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(§ 5 Všeobecná sestra, § 5a Dětská sestra, § 6 Porodní asistentka, § 21b Praktická sestra)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čtí pracovníci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6 / 1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3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9 / 1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- / 1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- / 1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2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2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2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3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- / -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- / -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3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3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 / -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3 / -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2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2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2 / -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5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4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11 / -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6 / -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(20 / 2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11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37 / 2 / 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  <p:sp>
        <p:nvSpPr>
          <p:cNvPr id="6" name="Obdélník 4">
            <a:extLst>
              <a:ext uri="{FF2B5EF4-FFF2-40B4-BE49-F238E27FC236}">
                <a16:creationId xmlns:a16="http://schemas.microsoft.com/office/drawing/2014/main" id="{CF4F4DD4-5D05-4AA4-B6B7-30E2E7BF4344}"/>
              </a:ext>
            </a:extLst>
          </p:cNvPr>
          <p:cNvSpPr/>
          <p:nvPr/>
        </p:nvSpPr>
        <p:spPr>
          <a:xfrm>
            <a:off x="609693" y="724725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ctr"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nově COVID-19 pozitivních 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za 7denní období 17. 9. – 23. 9. 2021 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7DA84AC6-10F0-4D41-9F1A-6572994DE132}"/>
              </a:ext>
            </a:extLst>
          </p:cNvPr>
          <p:cNvSpPr txBox="1"/>
          <p:nvPr/>
        </p:nvSpPr>
        <p:spPr>
          <a:xfrm>
            <a:off x="3707125" y="6081831"/>
            <a:ext cx="70547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dirty="0"/>
              <a:t>Barevné škály vizualizují rozsah hodnot v územích v rámci sledovaného ukazatele (sloupce)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648325E5-F71A-402A-B781-52C4AA1B55C4}"/>
              </a:ext>
            </a:extLst>
          </p:cNvPr>
          <p:cNvSpPr txBox="1"/>
          <p:nvPr/>
        </p:nvSpPr>
        <p:spPr>
          <a:xfrm>
            <a:off x="1495631" y="6316806"/>
            <a:ext cx="93831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* zdravotničtí pracovníci mohou být zaměstnáni ve více typech zdravotnických zařízení a jsou pak započítáni do každé příslušné skupiny</a:t>
            </a:r>
          </a:p>
        </p:txBody>
      </p:sp>
      <p:grpSp>
        <p:nvGrpSpPr>
          <p:cNvPr id="17" name="Skupina 16">
            <a:extLst>
              <a:ext uri="{FF2B5EF4-FFF2-40B4-BE49-F238E27FC236}">
                <a16:creationId xmlns:a16="http://schemas.microsoft.com/office/drawing/2014/main" id="{747C38F7-A7F7-4B0C-9D0A-01511E1A6161}"/>
              </a:ext>
            </a:extLst>
          </p:cNvPr>
          <p:cNvGrpSpPr/>
          <p:nvPr/>
        </p:nvGrpSpPr>
        <p:grpSpPr>
          <a:xfrm>
            <a:off x="1592578" y="6134593"/>
            <a:ext cx="2143122" cy="171474"/>
            <a:chOff x="2185672" y="6586960"/>
            <a:chExt cx="2143122" cy="171474"/>
          </a:xfrm>
        </p:grpSpPr>
        <p:sp>
          <p:nvSpPr>
            <p:cNvPr id="18" name="TextovéPole 17">
              <a:extLst>
                <a:ext uri="{FF2B5EF4-FFF2-40B4-BE49-F238E27FC236}">
                  <a16:creationId xmlns:a16="http://schemas.microsoft.com/office/drawing/2014/main" id="{159EDEC4-9347-43EC-A452-533F0BDD4739}"/>
                </a:ext>
              </a:extLst>
            </p:cNvPr>
            <p:cNvSpPr txBox="1"/>
            <p:nvPr/>
          </p:nvSpPr>
          <p:spPr>
            <a:xfrm>
              <a:off x="2185672" y="6586960"/>
              <a:ext cx="2143122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cs-CZ" sz="1000" dirty="0"/>
                <a:t>min %                                    max %</a:t>
              </a:r>
            </a:p>
          </p:txBody>
        </p:sp>
        <p:pic>
          <p:nvPicPr>
            <p:cNvPr id="19" name="Obrázek 18">
              <a:extLst>
                <a:ext uri="{FF2B5EF4-FFF2-40B4-BE49-F238E27FC236}">
                  <a16:creationId xmlns:a16="http://schemas.microsoft.com/office/drawing/2014/main" id="{67B50C2A-82CD-4E17-A551-738737906C9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653291" y="6586960"/>
              <a:ext cx="1190791" cy="17147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3119931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ání zdravotnických pracovníků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856A4F3-4E68-4416-AC19-AF13BC48D3B9}"/>
              </a:ext>
            </a:extLst>
          </p:cNvPr>
          <p:cNvSpPr txBox="1"/>
          <p:nvPr/>
        </p:nvSpPr>
        <p:spPr>
          <a:xfrm>
            <a:off x="5390575" y="102272"/>
            <a:ext cx="27062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10. 9. 2021</a:t>
            </a: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169149" y="1996486"/>
            <a:ext cx="11853702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ysoká úroveň proočkovanosti je patrná u pracovníků v akutní lůžkové péči a v záchranné zdravotnické službě: lékaři 86 % a sestry 78 %. </a:t>
            </a:r>
            <a:r>
              <a:rPr kumimoji="0" lang="cs-CZ" sz="320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řest</a:t>
            </a:r>
            <a:r>
              <a:rPr lang="cs-CZ" sz="3200" b="1" dirty="0">
                <a:latin typeface="Arial" panose="020B0604020202020204"/>
              </a:rPr>
              <a:t>o i v této kategorii existuje prostor k posílení očkování, zejména v některých moravských regionech. </a:t>
            </a:r>
            <a:endParaRPr kumimoji="0" lang="cs-CZ" sz="3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Šipka dolů 10"/>
          <p:cNvSpPr/>
          <p:nvPr/>
        </p:nvSpPr>
        <p:spPr>
          <a:xfrm>
            <a:off x="5390575" y="4652888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49095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NGAGE" val="{&quot;SavedSwatch&quot;:&quot;-16748873|-10780376|-3468525|-5151986|-9539986|Markido&quot;,&quot;Id&quot;:&quot;60abf0963433422b508f8030&quot;,&quot;SmartGridHorizontal&quot;:0,&quot;LinkedExcelSources&quot;:{},&quot;LinkedProjectSources&quot;:{},&quot;FlowConfig&quot;:{&quot;Canvas&quot;:{&quot;Slide&quot;:-1,&quot;Width&quot;:0,&quot;Height&quot;:0},&quot;Timeline&quot;:{&quot;Actions&quot;:[]}},&quot;LinkedSlideMergeSources&quot;:{},&quot;LinkedSharePointSlideMergeSources&quot;:{}}"/>
  <p:tag name="SLIDEFAB_CUSTOMSORTGLOBALLY" val="True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zentace2" id="{2F500C3B-2BAF-4CA5-849A-B1EC376A25DB}" vid="{C99570C5-ACCF-4382-8246-136F83C28052}"/>
    </a:ext>
  </a:extLst>
</a:theme>
</file>

<file path=ppt/theme/theme2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296</TotalTime>
  <Words>6530</Words>
  <Application>Microsoft Office PowerPoint</Application>
  <PresentationFormat>Širokoúhlá obrazovka</PresentationFormat>
  <Paragraphs>1477</Paragraphs>
  <Slides>18</Slides>
  <Notes>17</Notes>
  <HiddenSlides>0</HiddenSlides>
  <MMClips>0</MMClips>
  <ScaleCrop>false</ScaleCrop>
  <HeadingPairs>
    <vt:vector size="6" baseType="variant">
      <vt:variant>
        <vt:lpstr>Použitá písma</vt:lpstr>
      </vt:variant>
      <vt:variant>
        <vt:i4>2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18</vt:i4>
      </vt:variant>
    </vt:vector>
  </HeadingPairs>
  <TitlesOfParts>
    <vt:vector size="21" baseType="lpstr">
      <vt:lpstr>Calibri</vt:lpstr>
      <vt:lpstr>Arial</vt:lpstr>
      <vt:lpstr>Motiv Office</vt:lpstr>
      <vt:lpstr>Prezentace aplikace PowerPoint</vt:lpstr>
      <vt:lpstr>Očkování zdravotnických pracovníků </vt:lpstr>
      <vt:lpstr>Očkovaní zdravotničtí pracovníci celkem</vt:lpstr>
      <vt:lpstr>Očkovaní aktivní zdravotničtí pracovníci</vt:lpstr>
      <vt:lpstr>Počty pracovníků ve zdravotnictví s nákazou COVID-19</vt:lpstr>
      <vt:lpstr>Počty pracovníků ve zdravotnictví s nákazou COVID-19</vt:lpstr>
      <vt:lpstr>Počty pracovníků ve zdravotnictví s nákazou COVID-19</vt:lpstr>
      <vt:lpstr>Počty pracovníků ve zdravotnictví (ZP) s nákazou COVID-19</vt:lpstr>
      <vt:lpstr>Očkování zdravotnických pracovníků </vt:lpstr>
      <vt:lpstr>Očkovaní zdravotníci v nemocnicích akutní lůžkové péče a ZZS</vt:lpstr>
      <vt:lpstr>Očkování zdravotnických pracovníků </vt:lpstr>
      <vt:lpstr>Přehled povolání u COVID-19 pozitivních ostatních zdravotnických pracovníků za období 01-09 / 2021</vt:lpstr>
      <vt:lpstr>Přehled povolání u COVID-19 pozitivních ostatních zdravotnických pracovníků za 09 / 2021 k 25. 9.</vt:lpstr>
      <vt:lpstr>Očkovaní aktivní zdravotničtí pracovníci</vt:lpstr>
      <vt:lpstr>Očkovaní NLZP v nemocnicích akutní lůžkové péče a ZZS</vt:lpstr>
      <vt:lpstr>Očkovaní lékaři* podle typu zdravotnického zařízení</vt:lpstr>
      <vt:lpstr>Očkované sestry* podle typu zdravotnického zařízení</vt:lpstr>
      <vt:lpstr>Očkovaní ostatní ZP* podle typu zdravotnického zařízení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tiepidemický systém ČR PES</dc:title>
  <dc:creator>Martin Komenda</dc:creator>
  <cp:lastModifiedBy>Dušek Ladislav prof. RNDr. Ph.D.</cp:lastModifiedBy>
  <cp:revision>711</cp:revision>
  <dcterms:created xsi:type="dcterms:W3CDTF">2020-11-11T17:36:28Z</dcterms:created>
  <dcterms:modified xsi:type="dcterms:W3CDTF">2021-09-28T20:08:19Z</dcterms:modified>
</cp:coreProperties>
</file>